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9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0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3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4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5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6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7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18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19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0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21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22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23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24.xml" ContentType="application/vnd.openxmlformats-officedocument.them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5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6.xml" ContentType="application/vnd.openxmlformats-officedocument.theme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27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28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29.xml" ContentType="application/vnd.openxmlformats-officedocument.theme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30.xml" ContentType="application/vnd.openxmlformats-officedocument.theme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3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32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theme/theme33.xml" ContentType="application/vnd.openxmlformats-officedocument.theme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34.xml" ContentType="application/vnd.openxmlformats-officedocument.theme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35.xml" ContentType="application/vnd.openxmlformats-officedocument.theme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36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37.xml" ContentType="application/vnd.openxmlformats-officedocument.theme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heme/theme38.xml" ContentType="application/vnd.openxmlformats-officedocument.theme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theme/theme39.xml" ContentType="application/vnd.openxmlformats-officedocument.theme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40.xml" ContentType="application/vnd.openxmlformats-officedocument.theme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theme/theme41.xml" ContentType="application/vnd.openxmlformats-officedocument.theme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42.xml" ContentType="application/vnd.openxmlformats-officedocument.theme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4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theme/theme44.xml" ContentType="application/vnd.openxmlformats-officedocument.theme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theme/theme45.xml" ContentType="application/vnd.openxmlformats-officedocument.theme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theme/theme46.xml" ContentType="application/vnd.openxmlformats-officedocument.theme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theme/theme47.xml" ContentType="application/vnd.openxmlformats-officedocument.theme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theme/theme48.xml" ContentType="application/vnd.openxmlformats-officedocument.theme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49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theme/theme50.xml" ContentType="application/vnd.openxmlformats-officedocument.theme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theme/theme51.xml" ContentType="application/vnd.openxmlformats-officedocument.theme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theme/theme52.xml" ContentType="application/vnd.openxmlformats-officedocument.theme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53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theme/theme54.xml" ContentType="application/vnd.openxmlformats-officedocument.theme+xml"/>
  <Override PartName="/ppt/tags/tag1.xml" ContentType="application/vnd.openxmlformats-officedocument.presentationml.tags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theme/theme55.xml" ContentType="application/vnd.openxmlformats-officedocument.theme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theme/theme56.xml" ContentType="application/vnd.openxmlformats-officedocument.theme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theme/theme57.xml" ContentType="application/vnd.openxmlformats-officedocument.theme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theme/theme58.xml" ContentType="application/vnd.openxmlformats-officedocument.theme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theme/theme59.xml" ContentType="application/vnd.openxmlformats-officedocument.theme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theme/theme60.xml" ContentType="application/vnd.openxmlformats-officedocument.theme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theme/theme61.xml" ContentType="application/vnd.openxmlformats-officedocument.theme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theme/theme62.xml" ContentType="application/vnd.openxmlformats-officedocument.theme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63.xml" ContentType="application/vnd.openxmlformats-officedocument.theme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theme/theme64.xml" ContentType="application/vnd.openxmlformats-officedocument.theme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theme/theme65.xml" ContentType="application/vnd.openxmlformats-officedocument.theme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theme/theme66.xml" ContentType="application/vnd.openxmlformats-officedocument.theme+xml"/>
  <Override PartName="/ppt/theme/theme6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801" r:id="rId2"/>
    <p:sldMasterId id="2147483828" r:id="rId3"/>
    <p:sldMasterId id="2147483883" r:id="rId4"/>
    <p:sldMasterId id="2147483938" r:id="rId5"/>
    <p:sldMasterId id="2147483964" r:id="rId6"/>
    <p:sldMasterId id="2147484003" r:id="rId7"/>
    <p:sldMasterId id="2147484016" r:id="rId8"/>
    <p:sldMasterId id="2147484030" r:id="rId9"/>
    <p:sldMasterId id="2147484044" r:id="rId10"/>
    <p:sldMasterId id="2147484070" r:id="rId11"/>
    <p:sldMasterId id="2147484162" r:id="rId12"/>
    <p:sldMasterId id="2147484176" r:id="rId13"/>
    <p:sldMasterId id="2147484190" r:id="rId14"/>
    <p:sldMasterId id="2147484246" r:id="rId15"/>
    <p:sldMasterId id="2147484286" r:id="rId16"/>
    <p:sldMasterId id="2147484355" r:id="rId17"/>
    <p:sldMasterId id="2147484395" r:id="rId18"/>
    <p:sldMasterId id="2147484409" r:id="rId19"/>
    <p:sldMasterId id="2147484529" r:id="rId20"/>
    <p:sldMasterId id="2147484622" r:id="rId21"/>
    <p:sldMasterId id="2147484713" r:id="rId22"/>
    <p:sldMasterId id="2147484818" r:id="rId23"/>
    <p:sldMasterId id="2147485031" r:id="rId24"/>
    <p:sldMasterId id="2147485073" r:id="rId25"/>
    <p:sldMasterId id="2147485089" r:id="rId26"/>
    <p:sldMasterId id="2147485134" r:id="rId27"/>
    <p:sldMasterId id="2147485204" r:id="rId28"/>
    <p:sldMasterId id="2147485245" r:id="rId29"/>
    <p:sldMasterId id="2147485312" r:id="rId30"/>
    <p:sldMasterId id="2147485350" r:id="rId31"/>
    <p:sldMasterId id="2147485365" r:id="rId32"/>
    <p:sldMasterId id="2147485403" r:id="rId33"/>
    <p:sldMasterId id="2147485419" r:id="rId34"/>
    <p:sldMasterId id="2147485449" r:id="rId35"/>
    <p:sldMasterId id="2147485463" r:id="rId36"/>
    <p:sldMasterId id="2147485490" r:id="rId37"/>
    <p:sldMasterId id="2147485504" r:id="rId38"/>
    <p:sldMasterId id="2147485521" r:id="rId39"/>
    <p:sldMasterId id="2147485547" r:id="rId40"/>
    <p:sldMasterId id="2147485561" r:id="rId41"/>
    <p:sldMasterId id="2147485575" r:id="rId42"/>
    <p:sldMasterId id="2147485614" r:id="rId43"/>
    <p:sldMasterId id="2147485628" r:id="rId44"/>
    <p:sldMasterId id="2147485643" r:id="rId45"/>
    <p:sldMasterId id="2147485688" r:id="rId46"/>
    <p:sldMasterId id="2147485701" r:id="rId47"/>
    <p:sldMasterId id="2147485739" r:id="rId48"/>
    <p:sldMasterId id="2147485766" r:id="rId49"/>
    <p:sldMasterId id="2147485831" r:id="rId50"/>
    <p:sldMasterId id="2147485979" r:id="rId51"/>
    <p:sldMasterId id="2147486017" r:id="rId52"/>
    <p:sldMasterId id="2147486044" r:id="rId53"/>
    <p:sldMasterId id="2147486095" r:id="rId54"/>
    <p:sldMasterId id="2147486108" r:id="rId55"/>
    <p:sldMasterId id="2147486238" r:id="rId56"/>
    <p:sldMasterId id="2147486316" r:id="rId57"/>
    <p:sldMasterId id="2147486329" r:id="rId58"/>
    <p:sldMasterId id="2147486345" r:id="rId59"/>
    <p:sldMasterId id="2147486497" r:id="rId60"/>
    <p:sldMasterId id="2147486525" r:id="rId61"/>
    <p:sldMasterId id="2147486553" r:id="rId62"/>
    <p:sldMasterId id="2147486569" r:id="rId63"/>
    <p:sldMasterId id="2147486597" r:id="rId64"/>
    <p:sldMasterId id="2147486754" r:id="rId65"/>
    <p:sldMasterId id="2147486823" r:id="rId66"/>
  </p:sldMasterIdLst>
  <p:notesMasterIdLst>
    <p:notesMasterId r:id="rId71"/>
  </p:notesMasterIdLst>
  <p:sldIdLst>
    <p:sldId id="857" r:id="rId67"/>
    <p:sldId id="714" r:id="rId68"/>
    <p:sldId id="715" r:id="rId69"/>
    <p:sldId id="716" r:id="rId70"/>
  </p:sldIdLst>
  <p:sldSz cx="13004800" cy="9753600"/>
  <p:notesSz cx="6954838" cy="9309100"/>
  <p:defaultTextStyle>
    <a:defPPr marL="0" marR="0" indent="0" algn="l" defTabSz="865892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1pPr>
    <a:lvl2pPr marL="0" marR="0" indent="216477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2pPr>
    <a:lvl3pPr marL="0" marR="0" indent="432906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3pPr>
    <a:lvl4pPr marL="0" marR="0" indent="649436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4pPr>
    <a:lvl5pPr marL="0" marR="0" indent="865892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5pPr>
    <a:lvl6pPr marL="0" marR="0" indent="1082364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6pPr>
    <a:lvl7pPr marL="0" marR="0" indent="1298853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7pPr>
    <a:lvl8pPr marL="0" marR="0" indent="1515303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8pPr>
    <a:lvl9pPr marL="0" marR="0" indent="1731755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C5C7C9">
              <a:alpha val="30000"/>
            </a:srgbClr>
          </a:solidFill>
        </a:fill>
      </a:tcStyle>
    </a:band2H>
    <a:firstCol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D51ADE6A-740E-44AE-83CC-AE7238B6C88D}" styleName="">
    <a:tblBg/>
    <a:wholeTbl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676164">
              <a:alpha val="36000"/>
            </a:srgbClr>
          </a:solidFill>
        </a:fill>
      </a:tcStyle>
    </a:wholeTbl>
    <a:band2H>
      <a:tcTxStyle/>
      <a:tcStyle>
        <a:tcBdr/>
        <a:fill>
          <a:solidFill>
            <a:srgbClr val="676164">
              <a:alpha val="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9529"/>
    <p:restoredTop sz="50000" autoAdjust="0"/>
  </p:normalViewPr>
  <p:slideViewPr>
    <p:cSldViewPr snapToGrid="0" snapToObjects="1">
      <p:cViewPr varScale="1">
        <p:scale>
          <a:sx n="92" d="100"/>
          <a:sy n="92" d="100"/>
        </p:scale>
        <p:origin x="1632" y="184"/>
      </p:cViewPr>
      <p:guideLst>
        <p:guide orient="horz" pos="3072"/>
        <p:guide pos="40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6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63" Type="http://schemas.openxmlformats.org/officeDocument/2006/relationships/slideMaster" Target="slideMasters/slideMaster63.xml"/><Relationship Id="rId64" Type="http://schemas.openxmlformats.org/officeDocument/2006/relationships/slideMaster" Target="slideMasters/slideMaster64.xml"/><Relationship Id="rId65" Type="http://schemas.openxmlformats.org/officeDocument/2006/relationships/slideMaster" Target="slideMasters/slideMaster65.xml"/><Relationship Id="rId66" Type="http://schemas.openxmlformats.org/officeDocument/2006/relationships/slideMaster" Target="slideMasters/slideMaster66.xml"/><Relationship Id="rId67" Type="http://schemas.openxmlformats.org/officeDocument/2006/relationships/slide" Target="slides/slide1.xml"/><Relationship Id="rId68" Type="http://schemas.openxmlformats.org/officeDocument/2006/relationships/slide" Target="slides/slide2.xml"/><Relationship Id="rId69" Type="http://schemas.openxmlformats.org/officeDocument/2006/relationships/slide" Target="slides/slide3.xml"/><Relationship Id="rId50" Type="http://schemas.openxmlformats.org/officeDocument/2006/relationships/slideMaster" Target="slideMasters/slideMaster50.xml"/><Relationship Id="rId51" Type="http://schemas.openxmlformats.org/officeDocument/2006/relationships/slideMaster" Target="slideMasters/slideMaster51.xml"/><Relationship Id="rId52" Type="http://schemas.openxmlformats.org/officeDocument/2006/relationships/slideMaster" Target="slideMasters/slideMaster52.xml"/><Relationship Id="rId53" Type="http://schemas.openxmlformats.org/officeDocument/2006/relationships/slideMaster" Target="slideMasters/slideMaster53.xml"/><Relationship Id="rId54" Type="http://schemas.openxmlformats.org/officeDocument/2006/relationships/slideMaster" Target="slideMasters/slideMaster54.xml"/><Relationship Id="rId55" Type="http://schemas.openxmlformats.org/officeDocument/2006/relationships/slideMaster" Target="slideMasters/slideMaster55.xml"/><Relationship Id="rId56" Type="http://schemas.openxmlformats.org/officeDocument/2006/relationships/slideMaster" Target="slideMasters/slideMaster56.xml"/><Relationship Id="rId57" Type="http://schemas.openxmlformats.org/officeDocument/2006/relationships/slideMaster" Target="slideMasters/slideMaster57.xml"/><Relationship Id="rId58" Type="http://schemas.openxmlformats.org/officeDocument/2006/relationships/slideMaster" Target="slideMasters/slideMaster58.xml"/><Relationship Id="rId59" Type="http://schemas.openxmlformats.org/officeDocument/2006/relationships/slideMaster" Target="slideMasters/slideMaster59.xml"/><Relationship Id="rId40" Type="http://schemas.openxmlformats.org/officeDocument/2006/relationships/slideMaster" Target="slideMasters/slideMaster40.xml"/><Relationship Id="rId41" Type="http://schemas.openxmlformats.org/officeDocument/2006/relationships/slideMaster" Target="slideMasters/slideMaster41.xml"/><Relationship Id="rId42" Type="http://schemas.openxmlformats.org/officeDocument/2006/relationships/slideMaster" Target="slideMasters/slideMaster42.xml"/><Relationship Id="rId43" Type="http://schemas.openxmlformats.org/officeDocument/2006/relationships/slideMaster" Target="slideMasters/slideMaster43.xml"/><Relationship Id="rId44" Type="http://schemas.openxmlformats.org/officeDocument/2006/relationships/slideMaster" Target="slideMasters/slideMaster44.xml"/><Relationship Id="rId45" Type="http://schemas.openxmlformats.org/officeDocument/2006/relationships/slideMaster" Target="slideMasters/slideMaster45.xml"/><Relationship Id="rId46" Type="http://schemas.openxmlformats.org/officeDocument/2006/relationships/slideMaster" Target="slideMasters/slideMaster46.xml"/><Relationship Id="rId47" Type="http://schemas.openxmlformats.org/officeDocument/2006/relationships/slideMaster" Target="slideMasters/slideMaster47.xml"/><Relationship Id="rId48" Type="http://schemas.openxmlformats.org/officeDocument/2006/relationships/slideMaster" Target="slideMasters/slideMaster48.xml"/><Relationship Id="rId49" Type="http://schemas.openxmlformats.org/officeDocument/2006/relationships/slideMaster" Target="slideMasters/slideMaster4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30" Type="http://schemas.openxmlformats.org/officeDocument/2006/relationships/slideMaster" Target="slideMasters/slideMaster30.xml"/><Relationship Id="rId31" Type="http://schemas.openxmlformats.org/officeDocument/2006/relationships/slideMaster" Target="slideMasters/slideMaster31.xml"/><Relationship Id="rId32" Type="http://schemas.openxmlformats.org/officeDocument/2006/relationships/slideMaster" Target="slideMasters/slideMaster32.xml"/><Relationship Id="rId33" Type="http://schemas.openxmlformats.org/officeDocument/2006/relationships/slideMaster" Target="slideMasters/slideMaster33.xml"/><Relationship Id="rId34" Type="http://schemas.openxmlformats.org/officeDocument/2006/relationships/slideMaster" Target="slideMasters/slideMaster34.xml"/><Relationship Id="rId35" Type="http://schemas.openxmlformats.org/officeDocument/2006/relationships/slideMaster" Target="slideMasters/slideMaster35.xml"/><Relationship Id="rId36" Type="http://schemas.openxmlformats.org/officeDocument/2006/relationships/slideMaster" Target="slideMasters/slideMaster36.xml"/><Relationship Id="rId37" Type="http://schemas.openxmlformats.org/officeDocument/2006/relationships/slideMaster" Target="slideMasters/slideMaster37.xml"/><Relationship Id="rId38" Type="http://schemas.openxmlformats.org/officeDocument/2006/relationships/slideMaster" Target="slideMasters/slideMaster38.xml"/><Relationship Id="rId39" Type="http://schemas.openxmlformats.org/officeDocument/2006/relationships/slideMaster" Target="slideMasters/slideMaster39.xml"/><Relationship Id="rId70" Type="http://schemas.openxmlformats.org/officeDocument/2006/relationships/slide" Target="slides/slide4.xml"/><Relationship Id="rId71" Type="http://schemas.openxmlformats.org/officeDocument/2006/relationships/notesMaster" Target="notesMasters/notesMaster1.xml"/><Relationship Id="rId72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73" Type="http://schemas.openxmlformats.org/officeDocument/2006/relationships/viewProps" Target="viewProps.xml"/><Relationship Id="rId74" Type="http://schemas.openxmlformats.org/officeDocument/2006/relationships/theme" Target="theme/theme1.xml"/><Relationship Id="rId75" Type="http://schemas.openxmlformats.org/officeDocument/2006/relationships/tableStyles" Target="tableStyles.xml"/><Relationship Id="rId194" Type="http://schemas.microsoft.com/office/2016/11/relationships/changesInfo" Target="changesInfos/changesInfo1.xml"/><Relationship Id="rId60" Type="http://schemas.openxmlformats.org/officeDocument/2006/relationships/slideMaster" Target="slideMasters/slideMaster60.xml"/><Relationship Id="rId61" Type="http://schemas.openxmlformats.org/officeDocument/2006/relationships/slideMaster" Target="slideMasters/slideMaster61.xml"/><Relationship Id="rId62" Type="http://schemas.openxmlformats.org/officeDocument/2006/relationships/slideMaster" Target="slideMasters/slideMaster62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A188E650-7B31-4BF3-A97E-680B2C5ED01B}"/>
    <pc:docChg chg="custSel delSld modSld delMainMaster">
      <pc:chgData name="Robert Johnstone" userId="cb449c38944dd802" providerId="LiveId" clId="{A188E650-7B31-4BF3-A97E-680B2C5ED01B}" dt="2018-01-16T06:21:32.974" v="90" actId="20577"/>
      <pc:docMkLst>
        <pc:docMk/>
      </pc:docMkLst>
      <pc:sldChg chg="modSp">
        <pc:chgData name="Robert Johnstone" userId="cb449c38944dd802" providerId="LiveId" clId="{A188E650-7B31-4BF3-A97E-680B2C5ED01B}" dt="2018-01-16T06:21:32.974" v="90" actId="20577"/>
        <pc:sldMkLst>
          <pc:docMk/>
          <pc:sldMk cId="373525998" sldId="866"/>
        </pc:sldMkLst>
        <pc:spChg chg="mod">
          <ac:chgData name="Robert Johnstone" userId="cb449c38944dd802" providerId="LiveId" clId="{A188E650-7B31-4BF3-A97E-680B2C5ED01B}" dt="2018-01-16T06:21:32.974" v="90" actId="20577"/>
          <ac:spMkLst>
            <pc:docMk/>
            <pc:sldMk cId="373525998" sldId="866"/>
            <ac:spMk id="8" creationId="{00000000-0000-0000-0000-000000000000}"/>
          </ac:spMkLst>
        </pc:spChg>
      </pc:sldChg>
      <pc:sldChg chg="del">
        <pc:chgData name="Robert Johnstone" userId="cb449c38944dd802" providerId="LiveId" clId="{A188E650-7B31-4BF3-A97E-680B2C5ED01B}" dt="2018-01-16T06:21:09.840" v="43" actId="2696"/>
        <pc:sldMkLst>
          <pc:docMk/>
          <pc:sldMk cId="355491027" sldId="869"/>
        </pc:sldMkLst>
      </pc:sldChg>
      <pc:sldChg chg="del">
        <pc:chgData name="Robert Johnstone" userId="cb449c38944dd802" providerId="LiveId" clId="{A188E650-7B31-4BF3-A97E-680B2C5ED01B}" dt="2018-01-16T06:21:05.523" v="23" actId="2696"/>
        <pc:sldMkLst>
          <pc:docMk/>
          <pc:sldMk cId="1098740984" sldId="870"/>
        </pc:sldMkLst>
      </pc:sldChg>
      <pc:sldChg chg="del">
        <pc:chgData name="Robert Johnstone" userId="cb449c38944dd802" providerId="LiveId" clId="{A188E650-7B31-4BF3-A97E-680B2C5ED01B}" dt="2018-01-16T06:21:07.012" v="42" actId="2696"/>
        <pc:sldMkLst>
          <pc:docMk/>
          <pc:sldMk cId="1346082955" sldId="871"/>
        </pc:sldMkLst>
      </pc:sldChg>
      <pc:sldMasterChg chg="del delSldLayout">
        <pc:chgData name="Robert Johnstone" userId="cb449c38944dd802" providerId="LiveId" clId="{A188E650-7B31-4BF3-A97E-680B2C5ED01B}" dt="2018-01-16T06:21:09.849" v="56" actId="2696"/>
        <pc:sldMasterMkLst>
          <pc:docMk/>
          <pc:sldMasterMk cId="760244478" sldId="2147486792"/>
        </pc:sldMasterMkLst>
        <pc:sldLayoutChg chg="del">
          <pc:chgData name="Robert Johnstone" userId="cb449c38944dd802" providerId="LiveId" clId="{A188E650-7B31-4BF3-A97E-680B2C5ED01B}" dt="2018-01-16T06:21:09.841" v="44" actId="2696"/>
          <pc:sldLayoutMkLst>
            <pc:docMk/>
            <pc:sldMasterMk cId="760244478" sldId="2147486792"/>
            <pc:sldLayoutMk cId="3870024453" sldId="2147486793"/>
          </pc:sldLayoutMkLst>
        </pc:sldLayoutChg>
        <pc:sldLayoutChg chg="del">
          <pc:chgData name="Robert Johnstone" userId="cb449c38944dd802" providerId="LiveId" clId="{A188E650-7B31-4BF3-A97E-680B2C5ED01B}" dt="2018-01-16T06:21:09.842" v="45" actId="2696"/>
          <pc:sldLayoutMkLst>
            <pc:docMk/>
            <pc:sldMasterMk cId="760244478" sldId="2147486792"/>
            <pc:sldLayoutMk cId="1779094612" sldId="2147486794"/>
          </pc:sldLayoutMkLst>
        </pc:sldLayoutChg>
        <pc:sldLayoutChg chg="del">
          <pc:chgData name="Robert Johnstone" userId="cb449c38944dd802" providerId="LiveId" clId="{A188E650-7B31-4BF3-A97E-680B2C5ED01B}" dt="2018-01-16T06:21:09.843" v="46" actId="2696"/>
          <pc:sldLayoutMkLst>
            <pc:docMk/>
            <pc:sldMasterMk cId="760244478" sldId="2147486792"/>
            <pc:sldLayoutMk cId="1841850370" sldId="2147486795"/>
          </pc:sldLayoutMkLst>
        </pc:sldLayoutChg>
        <pc:sldLayoutChg chg="del">
          <pc:chgData name="Robert Johnstone" userId="cb449c38944dd802" providerId="LiveId" clId="{A188E650-7B31-4BF3-A97E-680B2C5ED01B}" dt="2018-01-16T06:21:09.843" v="47" actId="2696"/>
          <pc:sldLayoutMkLst>
            <pc:docMk/>
            <pc:sldMasterMk cId="760244478" sldId="2147486792"/>
            <pc:sldLayoutMk cId="652363318" sldId="2147486796"/>
          </pc:sldLayoutMkLst>
        </pc:sldLayoutChg>
        <pc:sldLayoutChg chg="del">
          <pc:chgData name="Robert Johnstone" userId="cb449c38944dd802" providerId="LiveId" clId="{A188E650-7B31-4BF3-A97E-680B2C5ED01B}" dt="2018-01-16T06:21:09.844" v="48" actId="2696"/>
          <pc:sldLayoutMkLst>
            <pc:docMk/>
            <pc:sldMasterMk cId="760244478" sldId="2147486792"/>
            <pc:sldLayoutMk cId="3100895775" sldId="2147486797"/>
          </pc:sldLayoutMkLst>
        </pc:sldLayoutChg>
        <pc:sldLayoutChg chg="del">
          <pc:chgData name="Robert Johnstone" userId="cb449c38944dd802" providerId="LiveId" clId="{A188E650-7B31-4BF3-A97E-680B2C5ED01B}" dt="2018-01-16T06:21:09.845" v="49" actId="2696"/>
          <pc:sldLayoutMkLst>
            <pc:docMk/>
            <pc:sldMasterMk cId="760244478" sldId="2147486792"/>
            <pc:sldLayoutMk cId="1875360602" sldId="2147486798"/>
          </pc:sldLayoutMkLst>
        </pc:sldLayoutChg>
        <pc:sldLayoutChg chg="del">
          <pc:chgData name="Robert Johnstone" userId="cb449c38944dd802" providerId="LiveId" clId="{A188E650-7B31-4BF3-A97E-680B2C5ED01B}" dt="2018-01-16T06:21:09.845" v="50" actId="2696"/>
          <pc:sldLayoutMkLst>
            <pc:docMk/>
            <pc:sldMasterMk cId="760244478" sldId="2147486792"/>
            <pc:sldLayoutMk cId="3090219862" sldId="2147486799"/>
          </pc:sldLayoutMkLst>
        </pc:sldLayoutChg>
        <pc:sldLayoutChg chg="del">
          <pc:chgData name="Robert Johnstone" userId="cb449c38944dd802" providerId="LiveId" clId="{A188E650-7B31-4BF3-A97E-680B2C5ED01B}" dt="2018-01-16T06:21:09.846" v="51" actId="2696"/>
          <pc:sldLayoutMkLst>
            <pc:docMk/>
            <pc:sldMasterMk cId="760244478" sldId="2147486792"/>
            <pc:sldLayoutMk cId="3483597963" sldId="2147486800"/>
          </pc:sldLayoutMkLst>
        </pc:sldLayoutChg>
        <pc:sldLayoutChg chg="del">
          <pc:chgData name="Robert Johnstone" userId="cb449c38944dd802" providerId="LiveId" clId="{A188E650-7B31-4BF3-A97E-680B2C5ED01B}" dt="2018-01-16T06:21:09.846" v="52" actId="2696"/>
          <pc:sldLayoutMkLst>
            <pc:docMk/>
            <pc:sldMasterMk cId="760244478" sldId="2147486792"/>
            <pc:sldLayoutMk cId="2335524516" sldId="2147486801"/>
          </pc:sldLayoutMkLst>
        </pc:sldLayoutChg>
        <pc:sldLayoutChg chg="del">
          <pc:chgData name="Robert Johnstone" userId="cb449c38944dd802" providerId="LiveId" clId="{A188E650-7B31-4BF3-A97E-680B2C5ED01B}" dt="2018-01-16T06:21:09.847" v="53" actId="2696"/>
          <pc:sldLayoutMkLst>
            <pc:docMk/>
            <pc:sldMasterMk cId="760244478" sldId="2147486792"/>
            <pc:sldLayoutMk cId="1265630840" sldId="2147486802"/>
          </pc:sldLayoutMkLst>
        </pc:sldLayoutChg>
        <pc:sldLayoutChg chg="del">
          <pc:chgData name="Robert Johnstone" userId="cb449c38944dd802" providerId="LiveId" clId="{A188E650-7B31-4BF3-A97E-680B2C5ED01B}" dt="2018-01-16T06:21:09.847" v="54" actId="2696"/>
          <pc:sldLayoutMkLst>
            <pc:docMk/>
            <pc:sldMasterMk cId="760244478" sldId="2147486792"/>
            <pc:sldLayoutMk cId="1957449048" sldId="2147486803"/>
          </pc:sldLayoutMkLst>
        </pc:sldLayoutChg>
        <pc:sldLayoutChg chg="del">
          <pc:chgData name="Robert Johnstone" userId="cb449c38944dd802" providerId="LiveId" clId="{A188E650-7B31-4BF3-A97E-680B2C5ED01B}" dt="2018-01-16T06:21:09.848" v="55" actId="2696"/>
          <pc:sldLayoutMkLst>
            <pc:docMk/>
            <pc:sldMasterMk cId="760244478" sldId="2147486792"/>
            <pc:sldLayoutMk cId="3644879896" sldId="2147486804"/>
          </pc:sldLayoutMkLst>
        </pc:sldLayoutChg>
      </pc:sldMasterChg>
      <pc:sldMasterChg chg="del delSldLayout">
        <pc:chgData name="Robert Johnstone" userId="cb449c38944dd802" providerId="LiveId" clId="{A188E650-7B31-4BF3-A97E-680B2C5ED01B}" dt="2018-01-16T06:21:05.523" v="41" actId="2696"/>
        <pc:sldMasterMkLst>
          <pc:docMk/>
          <pc:sldMasterMk cId="2579511365" sldId="2147486805"/>
        </pc:sldMasterMkLst>
        <pc:sldLayoutChg chg="del">
          <pc:chgData name="Robert Johnstone" userId="cb449c38944dd802" providerId="LiveId" clId="{A188E650-7B31-4BF3-A97E-680B2C5ED01B}" dt="2018-01-16T06:21:05.523" v="24" actId="2696"/>
          <pc:sldLayoutMkLst>
            <pc:docMk/>
            <pc:sldMasterMk cId="2579511365" sldId="2147486805"/>
            <pc:sldLayoutMk cId="3316571317" sldId="2147486806"/>
          </pc:sldLayoutMkLst>
        </pc:sldLayoutChg>
        <pc:sldLayoutChg chg="del">
          <pc:chgData name="Robert Johnstone" userId="cb449c38944dd802" providerId="LiveId" clId="{A188E650-7B31-4BF3-A97E-680B2C5ED01B}" dt="2018-01-16T06:21:05.523" v="25" actId="2696"/>
          <pc:sldLayoutMkLst>
            <pc:docMk/>
            <pc:sldMasterMk cId="2579511365" sldId="2147486805"/>
            <pc:sldLayoutMk cId="3567218320" sldId="2147486807"/>
          </pc:sldLayoutMkLst>
        </pc:sldLayoutChg>
        <pc:sldLayoutChg chg="del">
          <pc:chgData name="Robert Johnstone" userId="cb449c38944dd802" providerId="LiveId" clId="{A188E650-7B31-4BF3-A97E-680B2C5ED01B}" dt="2018-01-16T06:21:05.523" v="26" actId="2696"/>
          <pc:sldLayoutMkLst>
            <pc:docMk/>
            <pc:sldMasterMk cId="2579511365" sldId="2147486805"/>
            <pc:sldLayoutMk cId="800605445" sldId="2147486808"/>
          </pc:sldLayoutMkLst>
        </pc:sldLayoutChg>
        <pc:sldLayoutChg chg="del">
          <pc:chgData name="Robert Johnstone" userId="cb449c38944dd802" providerId="LiveId" clId="{A188E650-7B31-4BF3-A97E-680B2C5ED01B}" dt="2018-01-16T06:21:05.523" v="27" actId="2696"/>
          <pc:sldLayoutMkLst>
            <pc:docMk/>
            <pc:sldMasterMk cId="2579511365" sldId="2147486805"/>
            <pc:sldLayoutMk cId="3857558845" sldId="2147486809"/>
          </pc:sldLayoutMkLst>
        </pc:sldLayoutChg>
        <pc:sldLayoutChg chg="del">
          <pc:chgData name="Robert Johnstone" userId="cb449c38944dd802" providerId="LiveId" clId="{A188E650-7B31-4BF3-A97E-680B2C5ED01B}" dt="2018-01-16T06:21:05.523" v="28" actId="2696"/>
          <pc:sldLayoutMkLst>
            <pc:docMk/>
            <pc:sldMasterMk cId="2579511365" sldId="2147486805"/>
            <pc:sldLayoutMk cId="751174524" sldId="2147486810"/>
          </pc:sldLayoutMkLst>
        </pc:sldLayoutChg>
        <pc:sldLayoutChg chg="del">
          <pc:chgData name="Robert Johnstone" userId="cb449c38944dd802" providerId="LiveId" clId="{A188E650-7B31-4BF3-A97E-680B2C5ED01B}" dt="2018-01-16T06:21:05.523" v="29" actId="2696"/>
          <pc:sldLayoutMkLst>
            <pc:docMk/>
            <pc:sldMasterMk cId="2579511365" sldId="2147486805"/>
            <pc:sldLayoutMk cId="384053302" sldId="2147486811"/>
          </pc:sldLayoutMkLst>
        </pc:sldLayoutChg>
        <pc:sldLayoutChg chg="del">
          <pc:chgData name="Robert Johnstone" userId="cb449c38944dd802" providerId="LiveId" clId="{A188E650-7B31-4BF3-A97E-680B2C5ED01B}" dt="2018-01-16T06:21:05.523" v="30" actId="2696"/>
          <pc:sldLayoutMkLst>
            <pc:docMk/>
            <pc:sldMasterMk cId="2579511365" sldId="2147486805"/>
            <pc:sldLayoutMk cId="125451565" sldId="2147486812"/>
          </pc:sldLayoutMkLst>
        </pc:sldLayoutChg>
        <pc:sldLayoutChg chg="del">
          <pc:chgData name="Robert Johnstone" userId="cb449c38944dd802" providerId="LiveId" clId="{A188E650-7B31-4BF3-A97E-680B2C5ED01B}" dt="2018-01-16T06:21:05.523" v="31" actId="2696"/>
          <pc:sldLayoutMkLst>
            <pc:docMk/>
            <pc:sldMasterMk cId="2579511365" sldId="2147486805"/>
            <pc:sldLayoutMk cId="1201322648" sldId="2147486813"/>
          </pc:sldLayoutMkLst>
        </pc:sldLayoutChg>
        <pc:sldLayoutChg chg="del">
          <pc:chgData name="Robert Johnstone" userId="cb449c38944dd802" providerId="LiveId" clId="{A188E650-7B31-4BF3-A97E-680B2C5ED01B}" dt="2018-01-16T06:21:05.523" v="32" actId="2696"/>
          <pc:sldLayoutMkLst>
            <pc:docMk/>
            <pc:sldMasterMk cId="2579511365" sldId="2147486805"/>
            <pc:sldLayoutMk cId="3664254255" sldId="2147486814"/>
          </pc:sldLayoutMkLst>
        </pc:sldLayoutChg>
        <pc:sldLayoutChg chg="del">
          <pc:chgData name="Robert Johnstone" userId="cb449c38944dd802" providerId="LiveId" clId="{A188E650-7B31-4BF3-A97E-680B2C5ED01B}" dt="2018-01-16T06:21:05.523" v="33" actId="2696"/>
          <pc:sldLayoutMkLst>
            <pc:docMk/>
            <pc:sldMasterMk cId="2579511365" sldId="2147486805"/>
            <pc:sldLayoutMk cId="3374273757" sldId="2147486815"/>
          </pc:sldLayoutMkLst>
        </pc:sldLayoutChg>
        <pc:sldLayoutChg chg="del">
          <pc:chgData name="Robert Johnstone" userId="cb449c38944dd802" providerId="LiveId" clId="{A188E650-7B31-4BF3-A97E-680B2C5ED01B}" dt="2018-01-16T06:21:05.523" v="34" actId="2696"/>
          <pc:sldLayoutMkLst>
            <pc:docMk/>
            <pc:sldMasterMk cId="2579511365" sldId="2147486805"/>
            <pc:sldLayoutMk cId="3676229589" sldId="2147486816"/>
          </pc:sldLayoutMkLst>
        </pc:sldLayoutChg>
        <pc:sldLayoutChg chg="del">
          <pc:chgData name="Robert Johnstone" userId="cb449c38944dd802" providerId="LiveId" clId="{A188E650-7B31-4BF3-A97E-680B2C5ED01B}" dt="2018-01-16T06:21:05.523" v="35" actId="2696"/>
          <pc:sldLayoutMkLst>
            <pc:docMk/>
            <pc:sldMasterMk cId="2579511365" sldId="2147486805"/>
            <pc:sldLayoutMk cId="483886986" sldId="2147486817"/>
          </pc:sldLayoutMkLst>
        </pc:sldLayoutChg>
        <pc:sldLayoutChg chg="del">
          <pc:chgData name="Robert Johnstone" userId="cb449c38944dd802" providerId="LiveId" clId="{A188E650-7B31-4BF3-A97E-680B2C5ED01B}" dt="2018-01-16T06:21:05.523" v="36" actId="2696"/>
          <pc:sldLayoutMkLst>
            <pc:docMk/>
            <pc:sldMasterMk cId="2579511365" sldId="2147486805"/>
            <pc:sldLayoutMk cId="3830614102" sldId="2147486818"/>
          </pc:sldLayoutMkLst>
        </pc:sldLayoutChg>
        <pc:sldLayoutChg chg="del">
          <pc:chgData name="Robert Johnstone" userId="cb449c38944dd802" providerId="LiveId" clId="{A188E650-7B31-4BF3-A97E-680B2C5ED01B}" dt="2018-01-16T06:21:05.523" v="37" actId="2696"/>
          <pc:sldLayoutMkLst>
            <pc:docMk/>
            <pc:sldMasterMk cId="2579511365" sldId="2147486805"/>
            <pc:sldLayoutMk cId="2778617443" sldId="2147486819"/>
          </pc:sldLayoutMkLst>
        </pc:sldLayoutChg>
        <pc:sldLayoutChg chg="del">
          <pc:chgData name="Robert Johnstone" userId="cb449c38944dd802" providerId="LiveId" clId="{A188E650-7B31-4BF3-A97E-680B2C5ED01B}" dt="2018-01-16T06:21:05.523" v="38" actId="2696"/>
          <pc:sldLayoutMkLst>
            <pc:docMk/>
            <pc:sldMasterMk cId="2579511365" sldId="2147486805"/>
            <pc:sldLayoutMk cId="3119103524" sldId="2147486820"/>
          </pc:sldLayoutMkLst>
        </pc:sldLayoutChg>
        <pc:sldLayoutChg chg="del">
          <pc:chgData name="Robert Johnstone" userId="cb449c38944dd802" providerId="LiveId" clId="{A188E650-7B31-4BF3-A97E-680B2C5ED01B}" dt="2018-01-16T06:21:05.523" v="39" actId="2696"/>
          <pc:sldLayoutMkLst>
            <pc:docMk/>
            <pc:sldMasterMk cId="2579511365" sldId="2147486805"/>
            <pc:sldLayoutMk cId="461064202" sldId="2147486821"/>
          </pc:sldLayoutMkLst>
        </pc:sldLayoutChg>
        <pc:sldLayoutChg chg="del">
          <pc:chgData name="Robert Johnstone" userId="cb449c38944dd802" providerId="LiveId" clId="{A188E650-7B31-4BF3-A97E-680B2C5ED01B}" dt="2018-01-16T06:21:05.523" v="40" actId="2696"/>
          <pc:sldLayoutMkLst>
            <pc:docMk/>
            <pc:sldMasterMk cId="2579511365" sldId="2147486805"/>
            <pc:sldLayoutMk cId="3495093124" sldId="2147486822"/>
          </pc:sldLayoutMkLst>
        </pc:sldLayoutChg>
      </pc:sldMasterChg>
    </pc:docChg>
  </pc:docChgLst>
  <pc:docChgLst>
    <pc:chgData name="Robert Johnstone" userId="cb449c38944dd802" providerId="LiveId" clId="{8E4CA89D-0A7F-460E-9C75-A23FA867B16B}"/>
    <pc:docChg chg="custSel addSld delSld modSld delMainMaster">
      <pc:chgData name="Robert Johnstone" userId="cb449c38944dd802" providerId="LiveId" clId="{8E4CA89D-0A7F-460E-9C75-A23FA867B16B}" dt="2018-01-16T06:17:21.345" v="914" actId="20577"/>
      <pc:docMkLst>
        <pc:docMk/>
      </pc:docMkLst>
      <pc:sldChg chg="modSp del">
        <pc:chgData name="Robert Johnstone" userId="cb449c38944dd802" providerId="LiveId" clId="{8E4CA89D-0A7F-460E-9C75-A23FA867B16B}" dt="2018-01-16T06:09:37.341" v="318" actId="2696"/>
        <pc:sldMkLst>
          <pc:docMk/>
          <pc:sldMk cId="191676011" sldId="763"/>
        </pc:sldMkLst>
        <pc:spChg chg="mod">
          <ac:chgData name="Robert Johnstone" userId="cb449c38944dd802" providerId="LiveId" clId="{8E4CA89D-0A7F-460E-9C75-A23FA867B16B}" dt="2018-01-16T06:05:26.169" v="228" actId="20577"/>
          <ac:spMkLst>
            <pc:docMk/>
            <pc:sldMk cId="191676011" sldId="763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0:22.658" v="376" actId="2696"/>
        <pc:sldMkLst>
          <pc:docMk/>
          <pc:sldMk cId="862287062" sldId="764"/>
        </pc:sldMkLst>
        <pc:spChg chg="mod">
          <ac:chgData name="Robert Johnstone" userId="cb449c38944dd802" providerId="LiveId" clId="{8E4CA89D-0A7F-460E-9C75-A23FA867B16B}" dt="2018-01-16T06:05:55.765" v="255" actId="20577"/>
          <ac:spMkLst>
            <pc:docMk/>
            <pc:sldMk cId="862287062" sldId="764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0:40.566" v="413" actId="2696"/>
        <pc:sldMkLst>
          <pc:docMk/>
          <pc:sldMk cId="749174015" sldId="765"/>
        </pc:sldMkLst>
        <pc:spChg chg="mod">
          <ac:chgData name="Robert Johnstone" userId="cb449c38944dd802" providerId="LiveId" clId="{8E4CA89D-0A7F-460E-9C75-A23FA867B16B}" dt="2018-01-16T06:05:45.831" v="251" actId="20577"/>
          <ac:spMkLst>
            <pc:docMk/>
            <pc:sldMk cId="749174015" sldId="765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1:02.430" v="452" actId="2696"/>
        <pc:sldMkLst>
          <pc:docMk/>
          <pc:sldMk cId="749174015" sldId="766"/>
        </pc:sldMkLst>
        <pc:spChg chg="mod">
          <ac:chgData name="Robert Johnstone" userId="cb449c38944dd802" providerId="LiveId" clId="{8E4CA89D-0A7F-460E-9C75-A23FA867B16B}" dt="2018-01-16T06:06:19.228" v="267" actId="20577"/>
          <ac:spMkLst>
            <pc:docMk/>
            <pc:sldMk cId="749174015" sldId="766"/>
            <ac:spMk id="4" creationId="{00000000-0000-0000-0000-000000000000}"/>
          </ac:spMkLst>
        </pc:spChg>
      </pc:sldChg>
      <pc:sldChg chg="del">
        <pc:chgData name="Robert Johnstone" userId="cb449c38944dd802" providerId="LiveId" clId="{8E4CA89D-0A7F-460E-9C75-A23FA867B16B}" dt="2018-01-16T06:02:52.467" v="72" actId="2696"/>
        <pc:sldMkLst>
          <pc:docMk/>
          <pc:sldMk cId="2539340765" sldId="850"/>
        </pc:sldMkLst>
      </pc:sldChg>
      <pc:sldChg chg="addSp modSp">
        <pc:chgData name="Robert Johnstone" userId="cb449c38944dd802" providerId="LiveId" clId="{8E4CA89D-0A7F-460E-9C75-A23FA867B16B}" dt="2018-01-16T06:03:35.474" v="144" actId="20577"/>
        <pc:sldMkLst>
          <pc:docMk/>
          <pc:sldMk cId="3493223515" sldId="853"/>
        </pc:sldMkLst>
        <pc:spChg chg="add mod">
          <ac:chgData name="Robert Johnstone" userId="cb449c38944dd802" providerId="LiveId" clId="{8E4CA89D-0A7F-460E-9C75-A23FA867B16B}" dt="2018-01-16T06:03:35.474" v="144" actId="20577"/>
          <ac:spMkLst>
            <pc:docMk/>
            <pc:sldMk cId="3493223515" sldId="853"/>
            <ac:spMk id="2" creationId="{CBA14FDA-D670-4147-9587-F48BBA1EE02D}"/>
          </ac:spMkLst>
        </pc:spChg>
        <pc:spChg chg="mod">
          <ac:chgData name="Robert Johnstone" userId="cb449c38944dd802" providerId="LiveId" clId="{8E4CA89D-0A7F-460E-9C75-A23FA867B16B}" dt="2018-01-16T06:02:49.759" v="71" actId="20577"/>
          <ac:spMkLst>
            <pc:docMk/>
            <pc:sldMk cId="3493223515" sldId="853"/>
            <ac:spMk id="6" creationId="{00000000-0000-0000-0000-000000000000}"/>
          </ac:spMkLst>
        </pc:spChg>
      </pc:sldChg>
      <pc:sldChg chg="addSp delSp modSp">
        <pc:chgData name="Robert Johnstone" userId="cb449c38944dd802" providerId="LiveId" clId="{8E4CA89D-0A7F-460E-9C75-A23FA867B16B}" dt="2018-01-16T06:12:01.248" v="467" actId="20577"/>
        <pc:sldMkLst>
          <pc:docMk/>
          <pc:sldMk cId="329962745" sldId="854"/>
        </pc:sldMkLst>
        <pc:spChg chg="add del mod">
          <ac:chgData name="Robert Johnstone" userId="cb449c38944dd802" providerId="LiveId" clId="{8E4CA89D-0A7F-460E-9C75-A23FA867B16B}" dt="2018-01-16T06:09:02.560" v="272" actId="478"/>
          <ac:spMkLst>
            <pc:docMk/>
            <pc:sldMk cId="329962745" sldId="854"/>
            <ac:spMk id="3" creationId="{ACEEAB15-7357-4331-A55A-FAC9018F4041}"/>
          </ac:spMkLst>
        </pc:spChg>
        <pc:spChg chg="mod">
          <ac:chgData name="Robert Johnstone" userId="cb449c38944dd802" providerId="LiveId" clId="{8E4CA89D-0A7F-460E-9C75-A23FA867B16B}" dt="2018-01-16T06:12:01.248" v="467" actId="20577"/>
          <ac:spMkLst>
            <pc:docMk/>
            <pc:sldMk cId="329962745" sldId="854"/>
            <ac:spMk id="8" creationId="{00000000-0000-0000-0000-000000000000}"/>
          </ac:spMkLst>
        </pc:spChg>
        <pc:spChg chg="del mod">
          <ac:chgData name="Robert Johnstone" userId="cb449c38944dd802" providerId="LiveId" clId="{8E4CA89D-0A7F-460E-9C75-A23FA867B16B}" dt="2018-01-16T06:08:56.418" v="271" actId="478"/>
          <ac:spMkLst>
            <pc:docMk/>
            <pc:sldMk cId="329962745" sldId="854"/>
            <ac:spMk id="9" creationId="{00000000-0000-0000-0000-000000000000}"/>
          </ac:spMkLst>
        </pc:spChg>
        <pc:picChg chg="mod">
          <ac:chgData name="Robert Johnstone" userId="cb449c38944dd802" providerId="LiveId" clId="{8E4CA89D-0A7F-460E-9C75-A23FA867B16B}" dt="2018-01-16T06:09:10.402" v="273" actId="1076"/>
          <ac:picMkLst>
            <pc:docMk/>
            <pc:sldMk cId="329962745" sldId="854"/>
            <ac:picMk id="5" creationId="{00000000-0000-0000-0000-000000000000}"/>
          </ac:picMkLst>
        </pc:picChg>
      </pc:sldChg>
      <pc:sldChg chg="modSp">
        <pc:chgData name="Robert Johnstone" userId="cb449c38944dd802" providerId="LiveId" clId="{8E4CA89D-0A7F-460E-9C75-A23FA867B16B}" dt="2018-01-16T06:12:07.966" v="481" actId="20577"/>
        <pc:sldMkLst>
          <pc:docMk/>
          <pc:sldMk cId="2381130108" sldId="855"/>
        </pc:sldMkLst>
        <pc:spChg chg="mod">
          <ac:chgData name="Robert Johnstone" userId="cb449c38944dd802" providerId="LiveId" clId="{8E4CA89D-0A7F-460E-9C75-A23FA867B16B}" dt="2018-01-16T06:12:07.966" v="481" actId="20577"/>
          <ac:spMkLst>
            <pc:docMk/>
            <pc:sldMk cId="2381130108" sldId="855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2:18.118" v="507" actId="20577"/>
        <pc:sldMkLst>
          <pc:docMk/>
          <pc:sldMk cId="230927923" sldId="856"/>
        </pc:sldMkLst>
        <pc:spChg chg="mod">
          <ac:chgData name="Robert Johnstone" userId="cb449c38944dd802" providerId="LiveId" clId="{8E4CA89D-0A7F-460E-9C75-A23FA867B16B}" dt="2018-01-16T06:12:18.118" v="507" actId="20577"/>
          <ac:spMkLst>
            <pc:docMk/>
            <pc:sldMk cId="230927923" sldId="856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2:23.986" v="521" actId="20577"/>
        <pc:sldMkLst>
          <pc:docMk/>
          <pc:sldMk cId="2146724693" sldId="857"/>
        </pc:sldMkLst>
        <pc:spChg chg="mod">
          <ac:chgData name="Robert Johnstone" userId="cb449c38944dd802" providerId="LiveId" clId="{8E4CA89D-0A7F-460E-9C75-A23FA867B16B}" dt="2018-01-16T06:12:23.986" v="521" actId="20577"/>
          <ac:spMkLst>
            <pc:docMk/>
            <pc:sldMk cId="2146724693" sldId="857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3:05.348" v="568" actId="20577"/>
        <pc:sldMkLst>
          <pc:docMk/>
          <pc:sldMk cId="3302357424" sldId="858"/>
        </pc:sldMkLst>
        <pc:spChg chg="mod">
          <ac:chgData name="Robert Johnstone" userId="cb449c38944dd802" providerId="LiveId" clId="{8E4CA89D-0A7F-460E-9C75-A23FA867B16B}" dt="2018-01-16T06:13:05.348" v="568" actId="20577"/>
          <ac:spMkLst>
            <pc:docMk/>
            <pc:sldMk cId="3302357424" sldId="858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5:31.445" v="756" actId="20577"/>
        <pc:sldMkLst>
          <pc:docMk/>
          <pc:sldMk cId="4002892284" sldId="859"/>
        </pc:sldMkLst>
        <pc:spChg chg="mod">
          <ac:chgData name="Robert Johnstone" userId="cb449c38944dd802" providerId="LiveId" clId="{8E4CA89D-0A7F-460E-9C75-A23FA867B16B}" dt="2018-01-16T06:15:31.445" v="756" actId="20577"/>
          <ac:spMkLst>
            <pc:docMk/>
            <pc:sldMk cId="4002892284" sldId="859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5:36.994" v="770" actId="20577"/>
        <pc:sldMkLst>
          <pc:docMk/>
          <pc:sldMk cId="3313072384" sldId="860"/>
        </pc:sldMkLst>
        <pc:spChg chg="mod">
          <ac:chgData name="Robert Johnstone" userId="cb449c38944dd802" providerId="LiveId" clId="{8E4CA89D-0A7F-460E-9C75-A23FA867B16B}" dt="2018-01-16T06:15:36.994" v="770" actId="20577"/>
          <ac:spMkLst>
            <pc:docMk/>
            <pc:sldMk cId="3313072384" sldId="860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3:50.120" v="612" actId="20577"/>
        <pc:sldMkLst>
          <pc:docMk/>
          <pc:sldMk cId="2289547070" sldId="861"/>
        </pc:sldMkLst>
        <pc:spChg chg="mod">
          <ac:chgData name="Robert Johnstone" userId="cb449c38944dd802" providerId="LiveId" clId="{8E4CA89D-0A7F-460E-9C75-A23FA867B16B}" dt="2018-01-16T06:13:50.120" v="612" actId="20577"/>
          <ac:spMkLst>
            <pc:docMk/>
            <pc:sldMk cId="2289547070" sldId="861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7:21.345" v="914" actId="20577"/>
        <pc:sldMkLst>
          <pc:docMk/>
          <pc:sldMk cId="413070779" sldId="862"/>
        </pc:sldMkLst>
        <pc:spChg chg="mod">
          <ac:chgData name="Robert Johnstone" userId="cb449c38944dd802" providerId="LiveId" clId="{8E4CA89D-0A7F-460E-9C75-A23FA867B16B}" dt="2018-01-16T06:17:21.345" v="914" actId="20577"/>
          <ac:spMkLst>
            <pc:docMk/>
            <pc:sldMk cId="413070779" sldId="862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4:29.028" v="614" actId="27636"/>
        <pc:sldMkLst>
          <pc:docMk/>
          <pc:sldMk cId="516418384" sldId="863"/>
        </pc:sldMkLst>
        <pc:spChg chg="mod">
          <ac:chgData name="Robert Johnstone" userId="cb449c38944dd802" providerId="LiveId" clId="{8E4CA89D-0A7F-460E-9C75-A23FA867B16B}" dt="2018-01-16T06:14:29.028" v="614" actId="27636"/>
          <ac:spMkLst>
            <pc:docMk/>
            <pc:sldMk cId="516418384" sldId="863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6:58.544" v="903" actId="5793"/>
        <pc:sldMkLst>
          <pc:docMk/>
          <pc:sldMk cId="4074951093" sldId="864"/>
        </pc:sldMkLst>
        <pc:spChg chg="mod">
          <ac:chgData name="Robert Johnstone" userId="cb449c38944dd802" providerId="LiveId" clId="{8E4CA89D-0A7F-460E-9C75-A23FA867B16B}" dt="2018-01-16T06:16:43.080" v="834" actId="20577"/>
          <ac:spMkLst>
            <pc:docMk/>
            <pc:sldMk cId="4074951093" sldId="864"/>
            <ac:spMk id="2" creationId="{00000000-0000-0000-0000-000000000000}"/>
          </ac:spMkLst>
        </pc:spChg>
        <pc:spChg chg="mod">
          <ac:chgData name="Robert Johnstone" userId="cb449c38944dd802" providerId="LiveId" clId="{8E4CA89D-0A7F-460E-9C75-A23FA867B16B}" dt="2018-01-16T06:16:58.544" v="903" actId="5793"/>
          <ac:spMkLst>
            <pc:docMk/>
            <pc:sldMk cId="4074951093" sldId="864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6:34.183" v="819" actId="20577"/>
        <pc:sldMkLst>
          <pc:docMk/>
          <pc:sldMk cId="1814356384" sldId="865"/>
        </pc:sldMkLst>
        <pc:spChg chg="mod">
          <ac:chgData name="Robert Johnstone" userId="cb449c38944dd802" providerId="LiveId" clId="{8E4CA89D-0A7F-460E-9C75-A23FA867B16B}" dt="2018-01-16T06:16:34.183" v="819" actId="20577"/>
          <ac:spMkLst>
            <pc:docMk/>
            <pc:sldMk cId="1814356384" sldId="865"/>
            <ac:spMk id="2" creationId="{00000000-0000-0000-0000-000000000000}"/>
          </ac:spMkLst>
        </pc:spChg>
      </pc:sldChg>
      <pc:sldMasterChg chg="del delSldLayout">
        <pc:chgData name="Robert Johnstone" userId="cb449c38944dd802" providerId="LiveId" clId="{8E4CA89D-0A7F-460E-9C75-A23FA867B16B}" dt="2018-01-16T06:02:52.599" v="86" actId="2696"/>
        <pc:sldMasterMkLst>
          <pc:docMk/>
          <pc:sldMasterMk cId="2439968248" sldId="2147486703"/>
        </pc:sldMasterMkLst>
        <pc:sldLayoutChg chg="del">
          <pc:chgData name="Robert Johnstone" userId="cb449c38944dd802" providerId="LiveId" clId="{8E4CA89D-0A7F-460E-9C75-A23FA867B16B}" dt="2018-01-16T06:02:52.467" v="73" actId="2696"/>
          <pc:sldLayoutMkLst>
            <pc:docMk/>
            <pc:sldMasterMk cId="2439968248" sldId="2147486703"/>
            <pc:sldLayoutMk cId="603468548" sldId="2147486704"/>
          </pc:sldLayoutMkLst>
        </pc:sldLayoutChg>
        <pc:sldLayoutChg chg="del">
          <pc:chgData name="Robert Johnstone" userId="cb449c38944dd802" providerId="LiveId" clId="{8E4CA89D-0A7F-460E-9C75-A23FA867B16B}" dt="2018-01-16T06:02:52.599" v="74" actId="2696"/>
          <pc:sldLayoutMkLst>
            <pc:docMk/>
            <pc:sldMasterMk cId="2439968248" sldId="2147486703"/>
            <pc:sldLayoutMk cId="4056884981" sldId="2147486705"/>
          </pc:sldLayoutMkLst>
        </pc:sldLayoutChg>
        <pc:sldLayoutChg chg="del">
          <pc:chgData name="Robert Johnstone" userId="cb449c38944dd802" providerId="LiveId" clId="{8E4CA89D-0A7F-460E-9C75-A23FA867B16B}" dt="2018-01-16T06:02:52.599" v="75" actId="2696"/>
          <pc:sldLayoutMkLst>
            <pc:docMk/>
            <pc:sldMasterMk cId="2439968248" sldId="2147486703"/>
            <pc:sldLayoutMk cId="2340921964" sldId="2147486706"/>
          </pc:sldLayoutMkLst>
        </pc:sldLayoutChg>
        <pc:sldLayoutChg chg="del">
          <pc:chgData name="Robert Johnstone" userId="cb449c38944dd802" providerId="LiveId" clId="{8E4CA89D-0A7F-460E-9C75-A23FA867B16B}" dt="2018-01-16T06:02:52.599" v="76" actId="2696"/>
          <pc:sldLayoutMkLst>
            <pc:docMk/>
            <pc:sldMasterMk cId="2439968248" sldId="2147486703"/>
            <pc:sldLayoutMk cId="1581700612" sldId="2147486707"/>
          </pc:sldLayoutMkLst>
        </pc:sldLayoutChg>
        <pc:sldLayoutChg chg="del">
          <pc:chgData name="Robert Johnstone" userId="cb449c38944dd802" providerId="LiveId" clId="{8E4CA89D-0A7F-460E-9C75-A23FA867B16B}" dt="2018-01-16T06:02:52.599" v="77" actId="2696"/>
          <pc:sldLayoutMkLst>
            <pc:docMk/>
            <pc:sldMasterMk cId="2439968248" sldId="2147486703"/>
            <pc:sldLayoutMk cId="494186866" sldId="2147486708"/>
          </pc:sldLayoutMkLst>
        </pc:sldLayoutChg>
        <pc:sldLayoutChg chg="del">
          <pc:chgData name="Robert Johnstone" userId="cb449c38944dd802" providerId="LiveId" clId="{8E4CA89D-0A7F-460E-9C75-A23FA867B16B}" dt="2018-01-16T06:02:52.599" v="78" actId="2696"/>
          <pc:sldLayoutMkLst>
            <pc:docMk/>
            <pc:sldMasterMk cId="2439968248" sldId="2147486703"/>
            <pc:sldLayoutMk cId="1027894138" sldId="2147486709"/>
          </pc:sldLayoutMkLst>
        </pc:sldLayoutChg>
        <pc:sldLayoutChg chg="del">
          <pc:chgData name="Robert Johnstone" userId="cb449c38944dd802" providerId="LiveId" clId="{8E4CA89D-0A7F-460E-9C75-A23FA867B16B}" dt="2018-01-16T06:02:52.599" v="79" actId="2696"/>
          <pc:sldLayoutMkLst>
            <pc:docMk/>
            <pc:sldMasterMk cId="2439968248" sldId="2147486703"/>
            <pc:sldLayoutMk cId="1572911579" sldId="2147486710"/>
          </pc:sldLayoutMkLst>
        </pc:sldLayoutChg>
        <pc:sldLayoutChg chg="del">
          <pc:chgData name="Robert Johnstone" userId="cb449c38944dd802" providerId="LiveId" clId="{8E4CA89D-0A7F-460E-9C75-A23FA867B16B}" dt="2018-01-16T06:02:52.599" v="80" actId="2696"/>
          <pc:sldLayoutMkLst>
            <pc:docMk/>
            <pc:sldMasterMk cId="2439968248" sldId="2147486703"/>
            <pc:sldLayoutMk cId="2089610053" sldId="2147486711"/>
          </pc:sldLayoutMkLst>
        </pc:sldLayoutChg>
        <pc:sldLayoutChg chg="del">
          <pc:chgData name="Robert Johnstone" userId="cb449c38944dd802" providerId="LiveId" clId="{8E4CA89D-0A7F-460E-9C75-A23FA867B16B}" dt="2018-01-16T06:02:52.599" v="81" actId="2696"/>
          <pc:sldLayoutMkLst>
            <pc:docMk/>
            <pc:sldMasterMk cId="2439968248" sldId="2147486703"/>
            <pc:sldLayoutMk cId="1840549356" sldId="2147486712"/>
          </pc:sldLayoutMkLst>
        </pc:sldLayoutChg>
        <pc:sldLayoutChg chg="del">
          <pc:chgData name="Robert Johnstone" userId="cb449c38944dd802" providerId="LiveId" clId="{8E4CA89D-0A7F-460E-9C75-A23FA867B16B}" dt="2018-01-16T06:02:52.599" v="82" actId="2696"/>
          <pc:sldLayoutMkLst>
            <pc:docMk/>
            <pc:sldMasterMk cId="2439968248" sldId="2147486703"/>
            <pc:sldLayoutMk cId="1517952493" sldId="2147486713"/>
          </pc:sldLayoutMkLst>
        </pc:sldLayoutChg>
        <pc:sldLayoutChg chg="del">
          <pc:chgData name="Robert Johnstone" userId="cb449c38944dd802" providerId="LiveId" clId="{8E4CA89D-0A7F-460E-9C75-A23FA867B16B}" dt="2018-01-16T06:02:52.599" v="83" actId="2696"/>
          <pc:sldLayoutMkLst>
            <pc:docMk/>
            <pc:sldMasterMk cId="2439968248" sldId="2147486703"/>
            <pc:sldLayoutMk cId="3957328712" sldId="2147486714"/>
          </pc:sldLayoutMkLst>
        </pc:sldLayoutChg>
        <pc:sldLayoutChg chg="del">
          <pc:chgData name="Robert Johnstone" userId="cb449c38944dd802" providerId="LiveId" clId="{8E4CA89D-0A7F-460E-9C75-A23FA867B16B}" dt="2018-01-16T06:02:52.599" v="84" actId="2696"/>
          <pc:sldLayoutMkLst>
            <pc:docMk/>
            <pc:sldMasterMk cId="2439968248" sldId="2147486703"/>
            <pc:sldLayoutMk cId="132073223" sldId="2147486715"/>
          </pc:sldLayoutMkLst>
        </pc:sldLayoutChg>
        <pc:sldLayoutChg chg="del">
          <pc:chgData name="Robert Johnstone" userId="cb449c38944dd802" providerId="LiveId" clId="{8E4CA89D-0A7F-460E-9C75-A23FA867B16B}" dt="2018-01-16T06:02:52.599" v="85" actId="2696"/>
          <pc:sldLayoutMkLst>
            <pc:docMk/>
            <pc:sldMasterMk cId="2439968248" sldId="2147486703"/>
            <pc:sldLayoutMk cId="3542321698" sldId="2147486716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Shape 382"/>
          <p:cNvSpPr>
            <a:spLocks noGrp="1" noRot="1" noChangeAspect="1"/>
          </p:cNvSpPr>
          <p:nvPr>
            <p:ph type="sldImg"/>
          </p:nvPr>
        </p:nvSpPr>
        <p:spPr>
          <a:xfrm>
            <a:off x="1149350" y="698500"/>
            <a:ext cx="4656138" cy="3490913"/>
          </a:xfrm>
          <a:prstGeom prst="rect">
            <a:avLst/>
          </a:prstGeom>
        </p:spPr>
        <p:txBody>
          <a:bodyPr lIns="92930" tIns="46465" rIns="92930" bIns="46465"/>
          <a:lstStyle/>
          <a:p>
            <a:endParaRPr/>
          </a:p>
        </p:txBody>
      </p:sp>
      <p:sp>
        <p:nvSpPr>
          <p:cNvPr id="383" name="Shape 383"/>
          <p:cNvSpPr>
            <a:spLocks noGrp="1"/>
          </p:cNvSpPr>
          <p:nvPr>
            <p:ph type="body" sz="quarter" idx="1"/>
          </p:nvPr>
        </p:nvSpPr>
        <p:spPr>
          <a:xfrm>
            <a:off x="927312" y="4421823"/>
            <a:ext cx="5100215" cy="4189095"/>
          </a:xfrm>
          <a:prstGeom prst="rect">
            <a:avLst/>
          </a:prstGeom>
        </p:spPr>
        <p:txBody>
          <a:bodyPr lIns="92930" tIns="46465" rIns="92930" bIns="46465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9246209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553125" latinLnBrk="0">
      <a:defRPr sz="2100">
        <a:latin typeface="Lucida Grande"/>
        <a:ea typeface="Lucida Grande"/>
        <a:cs typeface="Lucida Grande"/>
        <a:sym typeface="Lucida Grande"/>
      </a:defRPr>
    </a:lvl1pPr>
    <a:lvl2pPr indent="216477" defTabSz="553125" latinLnBrk="0">
      <a:defRPr sz="2100">
        <a:latin typeface="Lucida Grande"/>
        <a:ea typeface="Lucida Grande"/>
        <a:cs typeface="Lucida Grande"/>
        <a:sym typeface="Lucida Grande"/>
      </a:defRPr>
    </a:lvl2pPr>
    <a:lvl3pPr indent="432906" defTabSz="553125" latinLnBrk="0">
      <a:defRPr sz="2100">
        <a:latin typeface="Lucida Grande"/>
        <a:ea typeface="Lucida Grande"/>
        <a:cs typeface="Lucida Grande"/>
        <a:sym typeface="Lucida Grande"/>
      </a:defRPr>
    </a:lvl3pPr>
    <a:lvl4pPr indent="649436" defTabSz="553125" latinLnBrk="0">
      <a:defRPr sz="2100">
        <a:latin typeface="Lucida Grande"/>
        <a:ea typeface="Lucida Grande"/>
        <a:cs typeface="Lucida Grande"/>
        <a:sym typeface="Lucida Grande"/>
      </a:defRPr>
    </a:lvl4pPr>
    <a:lvl5pPr indent="865892" defTabSz="553125" latinLnBrk="0">
      <a:defRPr sz="2100">
        <a:latin typeface="Lucida Grande"/>
        <a:ea typeface="Lucida Grande"/>
        <a:cs typeface="Lucida Grande"/>
        <a:sym typeface="Lucida Grande"/>
      </a:defRPr>
    </a:lvl5pPr>
    <a:lvl6pPr indent="1082364" defTabSz="553125" latinLnBrk="0">
      <a:defRPr sz="2100">
        <a:latin typeface="Lucida Grande"/>
        <a:ea typeface="Lucida Grande"/>
        <a:cs typeface="Lucida Grande"/>
        <a:sym typeface="Lucida Grande"/>
      </a:defRPr>
    </a:lvl6pPr>
    <a:lvl7pPr indent="1298853" defTabSz="553125" latinLnBrk="0">
      <a:defRPr sz="2100">
        <a:latin typeface="Lucida Grande"/>
        <a:ea typeface="Lucida Grande"/>
        <a:cs typeface="Lucida Grande"/>
        <a:sym typeface="Lucida Grande"/>
      </a:defRPr>
    </a:lvl7pPr>
    <a:lvl8pPr indent="1515303" defTabSz="553125" latinLnBrk="0">
      <a:defRPr sz="2100">
        <a:latin typeface="Lucida Grande"/>
        <a:ea typeface="Lucida Grande"/>
        <a:cs typeface="Lucida Grande"/>
        <a:sym typeface="Lucida Grande"/>
      </a:defRPr>
    </a:lvl8pPr>
    <a:lvl9pPr indent="1731755" defTabSz="553125" latinLnBrk="0">
      <a:defRPr sz="2100">
        <a:latin typeface="Lucida Grande"/>
        <a:ea typeface="Lucida Grande"/>
        <a:cs typeface="Lucida Grande"/>
        <a:sym typeface="Lucida Grand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2.pn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2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1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2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.pn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2.pn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1.pn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6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7.png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1.png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2.png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2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1.png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2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4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4.png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6.pn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7.png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6.pn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7.png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1.png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2.png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1.png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2.png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2.png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1.png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2.png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1.png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.png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1.png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1.png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2.png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Relationship Id="rId2" Type="http://schemas.openxmlformats.org/officeDocument/2006/relationships/image" Target="../media/image1.png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Relationship Id="rId2" Type="http://schemas.openxmlformats.org/officeDocument/2006/relationships/image" Target="../media/image2.png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1.png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2.png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1.png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.png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8.png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.png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2.png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1.png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1.png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2.png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.png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9.png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0.png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1.png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1.png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2.png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1.png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2.png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1.png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2.png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1.png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2.png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1.png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png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1.png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2.png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1.png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2.png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1.png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2.png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1.png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2.png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Relationship Id="rId2" Type="http://schemas.openxmlformats.org/officeDocument/2006/relationships/image" Target="../media/image1.png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Relationship Id="rId2" Type="http://schemas.openxmlformats.org/officeDocument/2006/relationships/image" Target="../media/image2.png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Relationship Id="rId2" Type="http://schemas.openxmlformats.org/officeDocument/2006/relationships/image" Target="../media/image1.png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Relationship Id="rId2" Type="http://schemas.openxmlformats.org/officeDocument/2006/relationships/image" Target="../media/image2.png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Relationship Id="rId2" Type="http://schemas.openxmlformats.org/officeDocument/2006/relationships/image" Target="../media/image1.png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Relationship Id="rId2" Type="http://schemas.openxmlformats.org/officeDocument/2006/relationships/image" Target="../media/image2.png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Relationship Id="rId2" Type="http://schemas.openxmlformats.org/officeDocument/2006/relationships/image" Target="../media/image1.png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Relationship Id="rId2" Type="http://schemas.openxmlformats.org/officeDocument/2006/relationships/image" Target="../media/image2.png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Relationship Id="rId2" Type="http://schemas.openxmlformats.org/officeDocument/2006/relationships/image" Target="../media/image1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Relationship Id="rId2" Type="http://schemas.openxmlformats.org/officeDocument/2006/relationships/image" Target="../media/image2.png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Relationship Id="rId2" Type="http://schemas.openxmlformats.org/officeDocument/2006/relationships/image" Target="../media/image12.png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Relationship Id="rId2" Type="http://schemas.openxmlformats.org/officeDocument/2006/relationships/image" Target="../media/image2.png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Relationship Id="rId2" Type="http://schemas.openxmlformats.org/officeDocument/2006/relationships/image" Target="../media/image6.png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Relationship Id="rId2" Type="http://schemas.openxmlformats.org/officeDocument/2006/relationships/image" Target="../media/image7.png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Relationship Id="rId2" Type="http://schemas.openxmlformats.org/officeDocument/2006/relationships/image" Target="../media/image6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Relationship Id="rId2" Type="http://schemas.openxmlformats.org/officeDocument/2006/relationships/image" Target="../media/image7.png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png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Relationship Id="rId2" Type="http://schemas.openxmlformats.org/officeDocument/2006/relationships/image" Target="../media/image1.png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Relationship Id="rId2" Type="http://schemas.openxmlformats.org/officeDocument/2006/relationships/image" Target="../media/image2.png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Relationship Id="rId2" Type="http://schemas.openxmlformats.org/officeDocument/2006/relationships/image" Target="../media/image1.png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Relationship Id="rId2" Type="http://schemas.openxmlformats.org/officeDocument/2006/relationships/image" Target="../media/image2.png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Relationship Id="rId2" Type="http://schemas.openxmlformats.org/officeDocument/2006/relationships/image" Target="../media/image1.png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Relationship Id="rId2" Type="http://schemas.openxmlformats.org/officeDocument/2006/relationships/image" Target="../media/image8.png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Relationship Id="rId2" Type="http://schemas.openxmlformats.org/officeDocument/2006/relationships/image" Target="../media/image1.png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Relationship Id="rId2" Type="http://schemas.openxmlformats.org/officeDocument/2006/relationships/image" Target="../media/image2.png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Relationship Id="rId2" Type="http://schemas.openxmlformats.org/officeDocument/2006/relationships/image" Target="../media/image1.png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Relationship Id="rId2" Type="http://schemas.openxmlformats.org/officeDocument/2006/relationships/image" Target="../media/image2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Relationship Id="rId2" Type="http://schemas.openxmlformats.org/officeDocument/2006/relationships/image" Target="../media/image1.png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Relationship Id="rId2" Type="http://schemas.openxmlformats.org/officeDocument/2006/relationships/image" Target="../media/image2.png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1.png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2.png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4.png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Relationship Id="rId2" Type="http://schemas.openxmlformats.org/officeDocument/2006/relationships/image" Target="../media/image4.png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Relationship Id="rId2" Type="http://schemas.openxmlformats.org/officeDocument/2006/relationships/image" Target="../media/image1.png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Relationship Id="rId2" Type="http://schemas.openxmlformats.org/officeDocument/2006/relationships/image" Target="../media/image2.png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4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602" algn="l"/>
              </a:tabLst>
              <a:defRPr sz="1400" b="1">
                <a:solidFill>
                  <a:srgbClr val="FFFFFF"/>
                </a:solidFill>
              </a:defRPr>
            </a:lvl2pPr>
            <a:lvl3pPr marL="1231410" indent="-12314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9768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7383" y="4421646"/>
            <a:ext cx="248344" cy="647504"/>
          </a:xfrm>
          <a:prstGeom prst="rect">
            <a:avLst/>
          </a:prstGeom>
          <a:noFill/>
        </p:spPr>
        <p:txBody>
          <a:bodyPr wrap="none" lIns="122865" tIns="61507" rIns="122865" bIns="61507" rtlCol="0">
            <a:spAutoFit/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179462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7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808" algn="l"/>
              </a:tabLst>
              <a:defRPr sz="1400" b="1">
                <a:solidFill>
                  <a:srgbClr val="FFFFFF"/>
                </a:solidFill>
              </a:defRPr>
            </a:lvl2pPr>
            <a:lvl3pPr marL="1235758" indent="-12357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5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algn="r" defTabSz="8688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73221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7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808" algn="l"/>
              </a:tabLst>
              <a:defRPr sz="1400" b="1">
                <a:solidFill>
                  <a:srgbClr val="FFFFFF"/>
                </a:solidFill>
              </a:defRPr>
            </a:lvl2pPr>
            <a:lvl3pPr marL="1235758" indent="-12357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5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algn="r" defTabSz="8688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1292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0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73"/>
            <a:ext cx="4132638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algn="r"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32998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0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07809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74649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73"/>
            <a:ext cx="4132638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algn="r"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10721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6919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6191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23" tIns="61714" rIns="123323" bIns="61714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23" tIns="61714" rIns="123323" bIns="61714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116" indent="-15041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745" indent="-31725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92219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2" y="4422677"/>
            <a:ext cx="249227" cy="647905"/>
          </a:xfrm>
          <a:prstGeom prst="rect">
            <a:avLst/>
          </a:prstGeom>
          <a:noFill/>
        </p:spPr>
        <p:txBody>
          <a:bodyPr wrap="none" lIns="123323" tIns="61714" rIns="123323" bIns="61714" rtlCol="0">
            <a:spAutoFit/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5171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5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4064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4278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261389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627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186" algn="l"/>
              </a:tabLst>
              <a:defRPr sz="1400" b="1">
                <a:solidFill>
                  <a:srgbClr val="FFFFFF"/>
                </a:solidFill>
              </a:defRPr>
            </a:lvl2pPr>
            <a:lvl3pPr marL="1236270" indent="-123627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4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algn="r" defTabSz="86921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10631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627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186" algn="l"/>
              </a:tabLst>
              <a:defRPr sz="1400" b="1">
                <a:solidFill>
                  <a:srgbClr val="FFFFFF"/>
                </a:solidFill>
              </a:defRPr>
            </a:lvl2pPr>
            <a:lvl3pPr marL="1236270" indent="-123627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4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algn="r" defTabSz="86921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3895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9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59"/>
            <a:ext cx="4132638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algn="r"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58773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9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9664943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4286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59"/>
            <a:ext cx="4132638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algn="r"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36366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16746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047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313229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8" y="313229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7258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77" tIns="61739" rIns="123377" bIns="61739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77" tIns="61739" rIns="123377" bIns="61739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274" indent="-15047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938" indent="-31739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38141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7" y="4421635"/>
            <a:ext cx="249337" cy="647952"/>
          </a:xfrm>
          <a:prstGeom prst="rect">
            <a:avLst/>
          </a:prstGeom>
          <a:noFill/>
        </p:spPr>
        <p:txBody>
          <a:bodyPr wrap="none" lIns="123377" tIns="61739" rIns="123377" bIns="61739" rtlCol="0">
            <a:spAutoFit/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9284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958186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260744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73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987" algn="l"/>
              </a:tabLst>
              <a:defRPr sz="1400" b="1">
                <a:solidFill>
                  <a:srgbClr val="FFFFFF"/>
                </a:solidFill>
              </a:defRPr>
            </a:lvl2pPr>
            <a:lvl3pPr marL="1237358" indent="-12373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12374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73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987" algn="l"/>
              </a:tabLst>
              <a:defRPr sz="1400" b="1">
                <a:solidFill>
                  <a:srgbClr val="FFFFFF"/>
                </a:solidFill>
              </a:defRPr>
            </a:lvl2pPr>
            <a:lvl3pPr marL="1237358" indent="-12373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t" anchorCtr="0" compatLnSpc="1">
            <a:prstTxWarp prst="textNoShape">
              <a:avLst/>
            </a:prstTxWarp>
          </a:bodyPr>
          <a:lstStyle/>
          <a:p>
            <a:pPr algn="r" defTabSz="86996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79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7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070001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6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73701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891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439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7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838" algn="l"/>
              </a:tabLst>
              <a:defRPr sz="1400" b="1">
                <a:solidFill>
                  <a:srgbClr val="FFFFFF"/>
                </a:solidFill>
              </a:defRPr>
            </a:lvl2pPr>
            <a:lvl3pPr marL="1231730" indent="-12317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4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algn="r" defTabSz="8661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565670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74234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27432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491" tIns="61790" rIns="123491" bIns="61790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491" tIns="61790" rIns="123491" bIns="61790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611" indent="-1505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8349" indent="-31767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3788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8" y="4421648"/>
            <a:ext cx="249553" cy="648051"/>
          </a:xfrm>
          <a:prstGeom prst="rect">
            <a:avLst/>
          </a:prstGeom>
          <a:noFill/>
        </p:spPr>
        <p:txBody>
          <a:bodyPr wrap="none" lIns="123491" tIns="61790" rIns="123491" bIns="61790" rtlCol="0">
            <a:spAutoFit/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48129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6023786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01080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8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838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8742" algn="l"/>
              </a:tabLst>
              <a:defRPr sz="1400" b="1">
                <a:solidFill>
                  <a:srgbClr val="FFFFFF"/>
                </a:solidFill>
              </a:defRPr>
            </a:lvl2pPr>
            <a:lvl3pPr marL="1238382" indent="-123838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0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algn="r" defTabSz="8706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82266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8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838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8742" algn="l"/>
              </a:tabLst>
              <a:defRPr sz="1400" b="1">
                <a:solidFill>
                  <a:srgbClr val="FFFFFF"/>
                </a:solidFill>
              </a:defRPr>
            </a:lvl2pPr>
            <a:lvl3pPr marL="1238382" indent="-123838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0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algn="r" defTabSz="8706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79664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5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762"/>
            <a:ext cx="4132638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algn="r"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50304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4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27256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7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838" algn="l"/>
              </a:tabLst>
              <a:defRPr sz="1400" b="1">
                <a:solidFill>
                  <a:srgbClr val="FFFFFF"/>
                </a:solidFill>
              </a:defRPr>
            </a:lvl2pPr>
            <a:lvl3pPr marL="1231730" indent="-12317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4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algn="r" defTabSz="8661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7369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9057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762"/>
            <a:ext cx="4132638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algn="r"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09889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0466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6470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599" tIns="61839" rIns="123599" bIns="61839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599" tIns="61839" rIns="123599" bIns="61839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930" indent="-15070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8736" indent="-31794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7880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38"/>
            <a:ext cx="249772" cy="648148"/>
          </a:xfrm>
          <a:prstGeom prst="rect">
            <a:avLst/>
          </a:prstGeom>
          <a:noFill/>
        </p:spPr>
        <p:txBody>
          <a:bodyPr wrap="none" lIns="123599" tIns="61839" rIns="123599" bIns="61839" rtlCol="0">
            <a:spAutoFit/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817571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328915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640596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9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734" algn="l"/>
              </a:tabLst>
              <a:defRPr sz="1400" b="1">
                <a:solidFill>
                  <a:srgbClr val="FFFFFF"/>
                </a:solidFill>
              </a:defRPr>
            </a:lvl2pPr>
            <a:lvl3pPr marL="1232946" indent="-12329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2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algn="r" defTabSz="86703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927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9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734" algn="l"/>
              </a:tabLst>
              <a:defRPr sz="1400" b="1">
                <a:solidFill>
                  <a:srgbClr val="FFFFFF"/>
                </a:solidFill>
              </a:defRPr>
            </a:lvl2pPr>
            <a:lvl3pPr marL="1232946" indent="-12329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2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algn="r" defTabSz="86703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10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9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65"/>
            <a:ext cx="4132638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algn="r"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471338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37"/>
            <a:ext cx="4132638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algn="r"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355071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6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985079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501039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37"/>
            <a:ext cx="4132638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algn="r"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9047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82138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40507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027" tIns="61580" rIns="123027" bIns="61580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027" tIns="61580" rIns="123027" bIns="61580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243" indent="-15008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689" indent="-31651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18706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5" y="4421640"/>
            <a:ext cx="248657" cy="647644"/>
          </a:xfrm>
          <a:prstGeom prst="rect">
            <a:avLst/>
          </a:prstGeom>
          <a:noFill/>
        </p:spPr>
        <p:txBody>
          <a:bodyPr wrap="none" lIns="123027" tIns="61580" rIns="123027" bIns="61580" rtlCol="0">
            <a:spAutoFit/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9359401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76975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34459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9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7884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1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062" algn="l"/>
              </a:tabLst>
              <a:defRPr sz="1400" b="1">
                <a:solidFill>
                  <a:srgbClr val="FFFFFF"/>
                </a:solidFill>
              </a:defRPr>
            </a:lvl2pPr>
            <a:lvl3pPr marL="1240174" indent="-12401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algn="r" defTabSz="8719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015948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1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062" algn="l"/>
              </a:tabLst>
              <a:defRPr sz="1400" b="1">
                <a:solidFill>
                  <a:srgbClr val="FFFFFF"/>
                </a:solidFill>
              </a:defRPr>
            </a:lvl2pPr>
            <a:lvl3pPr marL="1240174" indent="-12401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algn="r" defTabSz="8719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3772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1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72"/>
            <a:ext cx="4132638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algn="r"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21945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0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4402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94234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72"/>
            <a:ext cx="4132638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algn="r"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56374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32842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4988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788" tIns="61925" rIns="123788" bIns="61925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788" tIns="61925" rIns="123788" bIns="61925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487" indent="-15092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413" indent="-31841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41976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4" y="4421638"/>
            <a:ext cx="250139" cy="648320"/>
          </a:xfrm>
          <a:prstGeom prst="rect">
            <a:avLst/>
          </a:prstGeom>
          <a:noFill/>
        </p:spPr>
        <p:txBody>
          <a:bodyPr wrap="none" lIns="123788" tIns="61925" rIns="123788" bIns="61925" rtlCol="0">
            <a:spAutoFit/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9435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17668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078241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9167392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4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251" algn="l"/>
              </a:tabLst>
              <a:defRPr sz="1400" b="1">
                <a:solidFill>
                  <a:srgbClr val="FFFFFF"/>
                </a:solidFill>
              </a:defRPr>
            </a:lvl2pPr>
            <a:lvl3pPr marL="1240430" indent="-12404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5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algn="r" defTabSz="87208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415398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4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251" algn="l"/>
              </a:tabLst>
              <a:defRPr sz="1400" b="1">
                <a:solidFill>
                  <a:srgbClr val="FFFFFF"/>
                </a:solidFill>
              </a:defRPr>
            </a:lvl2pPr>
            <a:lvl3pPr marL="1240430" indent="-12404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5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algn="r" defTabSz="87208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61895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0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247045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00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981504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3954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642224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80591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254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65"/>
            <a:ext cx="4132638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algn="r"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46377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15" tIns="61938" rIns="123815" bIns="61938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15" tIns="61938" rIns="123815" bIns="61938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567" indent="-15095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509" indent="-31848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6316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5"/>
            <a:ext cx="250194" cy="648346"/>
          </a:xfrm>
          <a:prstGeom prst="rect">
            <a:avLst/>
          </a:prstGeom>
          <a:noFill/>
        </p:spPr>
        <p:txBody>
          <a:bodyPr wrap="none" lIns="123815" tIns="61938" rIns="123815" bIns="61938" rtlCol="0">
            <a:spAutoFit/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78979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23769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36904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98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0184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043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047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06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07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091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10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6121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448"/>
            <a:ext cx="3034453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448"/>
            <a:ext cx="4118187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448"/>
            <a:ext cx="3034453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561882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9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628" algn="l"/>
              </a:tabLst>
              <a:defRPr sz="1400" b="1">
                <a:solidFill>
                  <a:srgbClr val="FFFFFF"/>
                </a:solidFill>
              </a:defRPr>
            </a:lvl2pPr>
            <a:lvl3pPr marL="1240942" indent="-12409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4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algn="r" defTabSz="87244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879152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9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628" algn="l"/>
              </a:tabLst>
              <a:defRPr sz="1400" b="1">
                <a:solidFill>
                  <a:srgbClr val="FFFFFF"/>
                </a:solidFill>
              </a:defRPr>
            </a:lvl2pPr>
            <a:lvl3pPr marL="1240942" indent="-12409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4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algn="r" defTabSz="87244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89924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59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481521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78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53343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7750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8608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32695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798909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59844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69" tIns="61964" rIns="123869" bIns="61964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69" tIns="61964" rIns="123869" bIns="61964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726" indent="-15101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701" indent="-31862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5354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8"/>
            <a:ext cx="250288" cy="648390"/>
          </a:xfrm>
          <a:prstGeom prst="rect">
            <a:avLst/>
          </a:prstGeom>
          <a:noFill/>
        </p:spPr>
        <p:txBody>
          <a:bodyPr wrap="none" lIns="123869" tIns="61964" rIns="123869" bIns="61964" rtlCol="0">
            <a:spAutoFit/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123614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5689840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949547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8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044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094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12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16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20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24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287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63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436"/>
            <a:ext cx="3034453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436"/>
            <a:ext cx="4118187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436"/>
            <a:ext cx="3034453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767370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27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1948" algn="l"/>
              </a:tabLst>
              <a:defRPr sz="1400" b="1">
                <a:solidFill>
                  <a:srgbClr val="FFFFFF"/>
                </a:solidFill>
              </a:defRPr>
            </a:lvl2pPr>
            <a:lvl3pPr marL="1242734" indent="-12427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algn="r" defTabSz="87372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8403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27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1948" algn="l"/>
              </a:tabLst>
              <a:defRPr sz="1400" b="1">
                <a:solidFill>
                  <a:srgbClr val="FFFFFF"/>
                </a:solidFill>
              </a:defRPr>
            </a:lvl2pPr>
            <a:lvl3pPr marL="1242734" indent="-12427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algn="r" defTabSz="87372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47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4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602" algn="l"/>
              </a:tabLst>
              <a:defRPr sz="1400" b="1">
                <a:solidFill>
                  <a:srgbClr val="FFFFFF"/>
                </a:solidFill>
              </a:defRPr>
            </a:lvl2pPr>
            <a:lvl3pPr marL="1231410" indent="-12314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6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t" anchorCtr="0" compatLnSpc="1">
            <a:prstTxWarp prst="textNoShape">
              <a:avLst/>
            </a:prstTxWarp>
          </a:bodyPr>
          <a:lstStyle/>
          <a:p>
            <a:pPr algn="r" defTabSz="8658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7365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33015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55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958849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74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826443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12330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0514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85321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2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876418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057" tIns="62053" rIns="124057" bIns="62053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057" tIns="62053" rIns="124057" bIns="62053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6284" indent="-15121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0378" indent="-31909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44069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9"/>
            <a:ext cx="250657" cy="648565"/>
          </a:xfrm>
          <a:prstGeom prst="rect">
            <a:avLst/>
          </a:prstGeom>
          <a:noFill/>
        </p:spPr>
        <p:txBody>
          <a:bodyPr wrap="none" lIns="124057" tIns="62053" rIns="124057" bIns="62053" rtlCol="0">
            <a:spAutoFit/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718206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2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7488456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701420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99" tIns="61522" rIns="122899" bIns="61522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99" tIns="61522" rIns="122899" bIns="61522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2869" indent="-14995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233" indent="-3161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126053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46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133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27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39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52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6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777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90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703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97"/>
            <a:ext cx="3034453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97"/>
            <a:ext cx="4118187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97"/>
            <a:ext cx="3034453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932873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41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818" algn="l"/>
              </a:tabLst>
              <a:defRPr sz="1400" b="1">
                <a:solidFill>
                  <a:srgbClr val="FFFFFF"/>
                </a:solidFill>
              </a:defRPr>
            </a:lvl2pPr>
            <a:lvl3pPr marL="1234414" indent="-123441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389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8863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41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818" algn="l"/>
              </a:tabLst>
              <a:defRPr sz="1400" b="1">
                <a:solidFill>
                  <a:srgbClr val="FFFFFF"/>
                </a:solidFill>
              </a:defRPr>
            </a:lvl2pPr>
            <a:lvl3pPr marL="1234414" indent="-123441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389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28166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3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329015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3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61909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82180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32" y="412800"/>
            <a:ext cx="5521623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359381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800"/>
            <a:ext cx="5756430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588533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599519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81" tIns="61650" rIns="123181" bIns="61650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81" tIns="61650" rIns="123181" bIns="61650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698" indent="-15025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7241" indent="-31690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0687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4" y="4421642"/>
            <a:ext cx="248412" cy="647534"/>
          </a:xfrm>
          <a:prstGeom prst="rect">
            <a:avLst/>
          </a:prstGeom>
          <a:noFill/>
        </p:spPr>
        <p:txBody>
          <a:bodyPr wrap="none" lIns="122899" tIns="61522" rIns="122899" bIns="61522" rtlCol="0">
            <a:spAutoFit/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63343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47"/>
            <a:ext cx="248956" cy="647781"/>
          </a:xfrm>
          <a:prstGeom prst="rect">
            <a:avLst/>
          </a:prstGeom>
          <a:noFill/>
        </p:spPr>
        <p:txBody>
          <a:bodyPr wrap="none" lIns="123181" tIns="61650" rIns="123181" bIns="61650" rtlCol="0">
            <a:spAutoFit/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251406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728374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3914461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56311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581"/>
            <a:ext cx="3034453" cy="519289"/>
          </a:xfrm>
          <a:prstGeom prst="rect">
            <a:avLst/>
          </a:prstGeom>
        </p:spPr>
        <p:txBody>
          <a:bodyPr vert="horz" wrap="square" lIns="123161" tIns="61641" rIns="123161" bIns="6164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8454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8454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581"/>
            <a:ext cx="4118187" cy="519289"/>
          </a:xfrm>
          <a:prstGeom prst="rect">
            <a:avLst/>
          </a:prstGeom>
        </p:spPr>
        <p:txBody>
          <a:bodyPr lIns="123161" tIns="61641" rIns="123161" bIns="61641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8454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581"/>
            <a:ext cx="3034453" cy="519289"/>
          </a:xfrm>
          <a:prstGeom prst="rect">
            <a:avLst/>
          </a:prstGeom>
        </p:spPr>
        <p:txBody>
          <a:bodyPr vert="horz" wrap="square" lIns="123161" tIns="61641" rIns="123161" bIns="6164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8454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845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80983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42815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594"/>
            <a:ext cx="292608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594"/>
            <a:ext cx="438912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594"/>
            <a:ext cx="292608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646736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3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03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3646" algn="l"/>
              </a:tabLst>
              <a:defRPr sz="1400" b="1">
                <a:solidFill>
                  <a:srgbClr val="FFFFFF"/>
                </a:solidFill>
              </a:defRPr>
            </a:lvl2pPr>
            <a:lvl3pPr marL="1245038" indent="-124503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5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algn="r" defTabSz="87527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39406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3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03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3646" algn="l"/>
              </a:tabLst>
              <a:defRPr sz="1400" b="1">
                <a:solidFill>
                  <a:srgbClr val="FFFFFF"/>
                </a:solidFill>
              </a:defRPr>
            </a:lvl2pPr>
            <a:lvl3pPr marL="1245038" indent="-124503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5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algn="r" defTabSz="87527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92724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650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71"/>
            <a:ext cx="4132638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algn="r"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3428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3022659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9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971238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340873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71"/>
            <a:ext cx="4132638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algn="r"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03079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381489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12369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00" tIns="62167" rIns="124300" bIns="62167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00" tIns="62167" rIns="124300" bIns="62167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001" indent="-1514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249" indent="-3196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33969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4" y="4421645"/>
            <a:ext cx="251133" cy="648789"/>
          </a:xfrm>
          <a:prstGeom prst="rect">
            <a:avLst/>
          </a:prstGeom>
          <a:noFill/>
        </p:spPr>
        <p:txBody>
          <a:bodyPr wrap="none" lIns="124300" tIns="62167" rIns="124300" bIns="62167" rtlCol="0">
            <a:spAutoFit/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44633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763345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782189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55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030" algn="l"/>
              </a:tabLst>
              <a:defRPr sz="1400" b="1">
                <a:solidFill>
                  <a:srgbClr val="FFFFFF"/>
                </a:solidFill>
              </a:defRPr>
            </a:lvl2pPr>
            <a:lvl3pPr marL="1245550" indent="-124555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4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algn="r" defTabSz="87563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61780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3232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55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030" algn="l"/>
              </a:tabLst>
              <a:defRPr sz="1400" b="1">
                <a:solidFill>
                  <a:srgbClr val="FFFFFF"/>
                </a:solidFill>
              </a:defRPr>
            </a:lvl2pPr>
            <a:lvl3pPr marL="1245550" indent="-124555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4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algn="r" defTabSz="87563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918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649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60"/>
            <a:ext cx="4132638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algn="r"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313345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8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30822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6289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60"/>
            <a:ext cx="4132638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algn="r"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332747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82085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01600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54" tIns="62194" rIns="124354" bIns="62194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54" tIns="62194" rIns="124354" bIns="62194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160" indent="-1515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444" indent="-3198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25722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33" y="4421639"/>
            <a:ext cx="251243" cy="648843"/>
          </a:xfrm>
          <a:prstGeom prst="rect">
            <a:avLst/>
          </a:prstGeom>
          <a:noFill/>
        </p:spPr>
        <p:txBody>
          <a:bodyPr wrap="none" lIns="124354" tIns="62194" rIns="124354" bIns="62194" rtlCol="0">
            <a:spAutoFit/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741447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0836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17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168" algn="l"/>
              </a:tabLst>
              <a:defRPr sz="1400" b="1">
                <a:solidFill>
                  <a:srgbClr val="FFFFFF"/>
                </a:solidFill>
              </a:defRPr>
            </a:lvl2pPr>
            <a:lvl3pPr marL="1232178" indent="-123217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algn="r" defTabSz="8665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11296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7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7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536425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689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5031" algn="l"/>
              </a:tabLst>
              <a:defRPr sz="1400" b="1">
                <a:solidFill>
                  <a:srgbClr val="FFFFFF"/>
                </a:solidFill>
              </a:defRPr>
            </a:lvl2pPr>
            <a:lvl3pPr marL="1246894" indent="-124689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1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algn="r" defTabSz="8766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036291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689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5031" algn="l"/>
              </a:tabLst>
              <a:defRPr sz="1400" b="1">
                <a:solidFill>
                  <a:srgbClr val="FFFFFF"/>
                </a:solidFill>
              </a:defRPr>
            </a:lvl2pPr>
            <a:lvl3pPr marL="1246894" indent="-124689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1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algn="r" defTabSz="8766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74659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6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579"/>
            <a:ext cx="4132638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algn="r"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986311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5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26615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69356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579"/>
            <a:ext cx="4132638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algn="r"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49750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3973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19602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492" tIns="62262" rIns="124492" bIns="62262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492" tIns="62262" rIns="124492" bIns="62262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578" indent="-15169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951" indent="-32018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221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17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168" algn="l"/>
              </a:tabLst>
              <a:defRPr sz="1400" b="1">
                <a:solidFill>
                  <a:srgbClr val="FFFFFF"/>
                </a:solidFill>
              </a:defRPr>
            </a:lvl2pPr>
            <a:lvl3pPr marL="1232178" indent="-123217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algn="r" defTabSz="8665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9653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8"/>
            <a:ext cx="251506" cy="648971"/>
          </a:xfrm>
          <a:prstGeom prst="rect">
            <a:avLst/>
          </a:prstGeom>
          <a:noFill/>
        </p:spPr>
        <p:txBody>
          <a:bodyPr wrap="none" lIns="124492" tIns="62262" rIns="124492" bIns="62262" rtlCol="0">
            <a:spAutoFit/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536579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796161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4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4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858663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8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932302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91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767248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46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145223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773903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774834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635720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6037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8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715321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42232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629147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8866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12954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2588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83890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45185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06479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67774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29073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49036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79308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7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36174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2954" indent="0">
              <a:buNone/>
              <a:defRPr sz="2800" b="1"/>
            </a:lvl2pPr>
            <a:lvl3pPr marL="1225888" indent="0">
              <a:buNone/>
              <a:defRPr sz="2600" b="1"/>
            </a:lvl3pPr>
            <a:lvl4pPr marL="1838907" indent="0">
              <a:buNone/>
              <a:defRPr sz="2300" b="1"/>
            </a:lvl4pPr>
            <a:lvl5pPr marL="2451856" indent="0">
              <a:buNone/>
              <a:defRPr sz="2300" b="1"/>
            </a:lvl5pPr>
            <a:lvl6pPr marL="3064795" indent="0">
              <a:buNone/>
              <a:defRPr sz="2300" b="1"/>
            </a:lvl6pPr>
            <a:lvl7pPr marL="3677745" indent="0">
              <a:buNone/>
              <a:defRPr sz="2300" b="1"/>
            </a:lvl7pPr>
            <a:lvl8pPr marL="4290739" indent="0">
              <a:buNone/>
              <a:defRPr sz="2300" b="1"/>
            </a:lvl8pPr>
            <a:lvl9pPr marL="4903657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2954" indent="0">
              <a:buNone/>
              <a:defRPr sz="2800" b="1"/>
            </a:lvl2pPr>
            <a:lvl3pPr marL="1225888" indent="0">
              <a:buNone/>
              <a:defRPr sz="2600" b="1"/>
            </a:lvl3pPr>
            <a:lvl4pPr marL="1838907" indent="0">
              <a:buNone/>
              <a:defRPr sz="2300" b="1"/>
            </a:lvl4pPr>
            <a:lvl5pPr marL="2451856" indent="0">
              <a:buNone/>
              <a:defRPr sz="2300" b="1"/>
            </a:lvl5pPr>
            <a:lvl6pPr marL="3064795" indent="0">
              <a:buNone/>
              <a:defRPr sz="2300" b="1"/>
            </a:lvl6pPr>
            <a:lvl7pPr marL="3677745" indent="0">
              <a:buNone/>
              <a:defRPr sz="2300" b="1"/>
            </a:lvl7pPr>
            <a:lvl8pPr marL="4290739" indent="0">
              <a:buNone/>
              <a:defRPr sz="2300" b="1"/>
            </a:lvl8pPr>
            <a:lvl9pPr marL="4903657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17545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2627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89165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935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935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2954" indent="0">
              <a:buNone/>
              <a:defRPr sz="2000"/>
            </a:lvl2pPr>
            <a:lvl3pPr marL="1225888" indent="0">
              <a:buNone/>
              <a:defRPr sz="1700"/>
            </a:lvl3pPr>
            <a:lvl4pPr marL="1838907" indent="0">
              <a:buNone/>
              <a:defRPr sz="1400"/>
            </a:lvl4pPr>
            <a:lvl5pPr marL="2451856" indent="0">
              <a:buNone/>
              <a:defRPr sz="1400"/>
            </a:lvl5pPr>
            <a:lvl6pPr marL="3064795" indent="0">
              <a:buNone/>
              <a:defRPr sz="1400"/>
            </a:lvl6pPr>
            <a:lvl7pPr marL="3677745" indent="0">
              <a:buNone/>
              <a:defRPr sz="1400"/>
            </a:lvl7pPr>
            <a:lvl8pPr marL="4290739" indent="0">
              <a:buNone/>
              <a:defRPr sz="1400"/>
            </a:lvl8pPr>
            <a:lvl9pPr marL="4903657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14560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935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12954" indent="0">
              <a:buNone/>
              <a:defRPr sz="4000"/>
            </a:lvl2pPr>
            <a:lvl3pPr marL="1225888" indent="0">
              <a:buNone/>
              <a:defRPr sz="3400"/>
            </a:lvl3pPr>
            <a:lvl4pPr marL="1838907" indent="0">
              <a:buNone/>
              <a:defRPr sz="2800"/>
            </a:lvl4pPr>
            <a:lvl5pPr marL="2451856" indent="0">
              <a:buNone/>
              <a:defRPr sz="2800"/>
            </a:lvl5pPr>
            <a:lvl6pPr marL="3064795" indent="0">
              <a:buNone/>
              <a:defRPr sz="2800"/>
            </a:lvl6pPr>
            <a:lvl7pPr marL="3677745" indent="0">
              <a:buNone/>
              <a:defRPr sz="2800"/>
            </a:lvl7pPr>
            <a:lvl8pPr marL="4290739" indent="0">
              <a:buNone/>
              <a:defRPr sz="2800"/>
            </a:lvl8pPr>
            <a:lvl9pPr marL="4903657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935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2954" indent="0">
              <a:buNone/>
              <a:defRPr sz="2000"/>
            </a:lvl2pPr>
            <a:lvl3pPr marL="1225888" indent="0">
              <a:buNone/>
              <a:defRPr sz="1700"/>
            </a:lvl3pPr>
            <a:lvl4pPr marL="1838907" indent="0">
              <a:buNone/>
              <a:defRPr sz="1400"/>
            </a:lvl4pPr>
            <a:lvl5pPr marL="2451856" indent="0">
              <a:buNone/>
              <a:defRPr sz="1400"/>
            </a:lvl5pPr>
            <a:lvl6pPr marL="3064795" indent="0">
              <a:buNone/>
              <a:defRPr sz="1400"/>
            </a:lvl6pPr>
            <a:lvl7pPr marL="3677745" indent="0">
              <a:buNone/>
              <a:defRPr sz="1400"/>
            </a:lvl7pPr>
            <a:lvl8pPr marL="4290739" indent="0">
              <a:buNone/>
              <a:defRPr sz="1400"/>
            </a:lvl8pPr>
            <a:lvl9pPr marL="4903657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655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258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8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02336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90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432" y="519290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88972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82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1294" algn="l"/>
              </a:tabLst>
              <a:defRPr sz="1400" b="1">
                <a:solidFill>
                  <a:srgbClr val="FFFFFF"/>
                </a:solidFill>
              </a:defRPr>
            </a:lvl2pPr>
            <a:lvl3pPr marL="1228274" indent="-12282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524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0784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82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1294" algn="l"/>
              </a:tabLst>
              <a:defRPr sz="1400" b="1">
                <a:solidFill>
                  <a:srgbClr val="FFFFFF"/>
                </a:solidFill>
              </a:defRPr>
            </a:lvl2pPr>
            <a:lvl3pPr marL="1228274" indent="-12282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524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8283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87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802556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87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153009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99392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569" y="413991"/>
            <a:ext cx="5521623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8250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991"/>
            <a:ext cx="5756430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405491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14678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535" tIns="61358" rIns="122535" bIns="61358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535" tIns="61358" rIns="122535" bIns="61358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5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1805" indent="-14954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4943" indent="-31533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01617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3769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2670"/>
            <a:ext cx="247704" cy="647211"/>
          </a:xfrm>
          <a:prstGeom prst="rect">
            <a:avLst/>
          </a:prstGeom>
          <a:noFill/>
        </p:spPr>
        <p:txBody>
          <a:bodyPr wrap="none" lIns="122535" tIns="61358" rIns="122535" bIns="61358" rtlCol="0">
            <a:spAutoFit/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717266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3341969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32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32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8481053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781741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717"/>
            <a:ext cx="3034453" cy="519289"/>
          </a:xfrm>
          <a:prstGeom prst="rect">
            <a:avLst/>
          </a:prstGeom>
        </p:spPr>
        <p:txBody>
          <a:bodyPr vert="horz" wrap="square" lIns="122515" tIns="61349" rIns="122515" bIns="6134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421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421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717"/>
            <a:ext cx="4118187" cy="519289"/>
          </a:xfrm>
          <a:prstGeom prst="rect">
            <a:avLst/>
          </a:prstGeom>
        </p:spPr>
        <p:txBody>
          <a:bodyPr lIns="122515" tIns="61349" rIns="122515" bIns="6134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421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717"/>
            <a:ext cx="3034453" cy="519289"/>
          </a:xfrm>
          <a:prstGeom prst="rect">
            <a:avLst/>
          </a:prstGeom>
        </p:spPr>
        <p:txBody>
          <a:bodyPr vert="horz" wrap="square" lIns="122515" tIns="61349" rIns="122515" bIns="6134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421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42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19374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39720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729"/>
            <a:ext cx="292608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729"/>
            <a:ext cx="438912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729"/>
            <a:ext cx="292608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19788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645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19933" algn="l"/>
              </a:tabLst>
              <a:defRPr sz="1400" b="1">
                <a:solidFill>
                  <a:srgbClr val="FFFFFF"/>
                </a:solidFill>
              </a:defRPr>
            </a:lvl2pPr>
            <a:lvl3pPr marL="1226451" indent="-122645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566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92797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645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19933" algn="l"/>
              </a:tabLst>
              <a:defRPr sz="1400" b="1">
                <a:solidFill>
                  <a:srgbClr val="FFFFFF"/>
                </a:solidFill>
              </a:defRPr>
            </a:lvl2pPr>
            <a:lvl3pPr marL="1226451" indent="-122645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566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9767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9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2856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68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55642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034156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9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071993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362869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610" y="412978"/>
            <a:ext cx="5521623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030418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978"/>
            <a:ext cx="5756430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18389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081385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339" tIns="61268" rIns="122339" bIns="61268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339" tIns="61268" rIns="122339" bIns="61268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91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1234" indent="-1493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4259" indent="-31487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84038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7" y="4421656"/>
            <a:ext cx="247324" cy="647041"/>
          </a:xfrm>
          <a:prstGeom prst="rect">
            <a:avLst/>
          </a:prstGeom>
          <a:noFill/>
        </p:spPr>
        <p:txBody>
          <a:bodyPr wrap="none" lIns="122339" tIns="61268" rIns="122339" bIns="61268" rtlCol="0">
            <a:spAutoFit/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5862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4368504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3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3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1874956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11742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971202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759"/>
            <a:ext cx="3034453" cy="519289"/>
          </a:xfrm>
          <a:prstGeom prst="rect">
            <a:avLst/>
          </a:prstGeom>
        </p:spPr>
        <p:txBody>
          <a:bodyPr vert="horz" wrap="square" lIns="122319" tIns="61260" rIns="122319" bIns="6126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2938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2938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759"/>
            <a:ext cx="4118187" cy="519289"/>
          </a:xfrm>
          <a:prstGeom prst="rect">
            <a:avLst/>
          </a:prstGeom>
        </p:spPr>
        <p:txBody>
          <a:bodyPr lIns="122319" tIns="61260" rIns="122319" bIns="61260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2938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759"/>
            <a:ext cx="3034453" cy="519289"/>
          </a:xfrm>
          <a:prstGeom prst="rect">
            <a:avLst/>
          </a:prstGeom>
        </p:spPr>
        <p:txBody>
          <a:bodyPr vert="horz" wrap="square" lIns="122319" tIns="61260" rIns="122319" bIns="6126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2938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29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04399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462467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771"/>
            <a:ext cx="292608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771"/>
            <a:ext cx="438912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771"/>
            <a:ext cx="292608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443383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1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06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7814" algn="l"/>
              </a:tabLst>
              <a:defRPr sz="1400" b="1">
                <a:solidFill>
                  <a:srgbClr val="FFFFFF"/>
                </a:solidFill>
              </a:defRPr>
            </a:lvl2pPr>
            <a:lvl3pPr marL="1250606" indent="-12506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algn="r" defTabSz="87917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675105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1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06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7814" algn="l"/>
              </a:tabLst>
              <a:defRPr sz="1400" b="1">
                <a:solidFill>
                  <a:srgbClr val="FFFFFF"/>
                </a:solidFill>
              </a:defRPr>
            </a:lvl2pPr>
            <a:lvl3pPr marL="1250606" indent="-12506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algn="r" defTabSz="87917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0063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7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25845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1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7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586754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0491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421191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7122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619827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884462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882" tIns="62447" rIns="124882" bIns="62447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882" tIns="62447" rIns="124882" bIns="62447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733" indent="-15212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352" indent="-3211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214487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9" y="4421636"/>
            <a:ext cx="252268" cy="649334"/>
          </a:xfrm>
          <a:prstGeom prst="rect">
            <a:avLst/>
          </a:prstGeom>
          <a:noFill/>
        </p:spPr>
        <p:txBody>
          <a:bodyPr wrap="none" lIns="124882" tIns="62447" rIns="124882" bIns="62447" rtlCol="0">
            <a:spAutoFit/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7071135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944465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5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5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7965608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71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27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060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5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09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6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140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65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18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22"/>
            <a:ext cx="3034453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22"/>
            <a:ext cx="4118187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22"/>
            <a:ext cx="3034453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739604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198" algn="l"/>
              </a:tabLst>
              <a:defRPr sz="1400" b="1">
                <a:solidFill>
                  <a:srgbClr val="FFFFFF"/>
                </a:solidFill>
              </a:defRPr>
            </a:lvl2pPr>
            <a:lvl3pPr marL="1251118" indent="-1251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algn="r" defTabSz="87953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11686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198" algn="l"/>
              </a:tabLst>
              <a:defRPr sz="1400" b="1">
                <a:solidFill>
                  <a:srgbClr val="FFFFFF"/>
                </a:solidFill>
              </a:defRPr>
            </a:lvl2pPr>
            <a:lvl3pPr marL="1251118" indent="-1251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algn="r" defTabSz="87953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45095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6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415407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0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6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775041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46" tIns="61544" rIns="122946" bIns="61544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46" tIns="61544" rIns="122946" bIns="61544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006" indent="-15000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401" indent="-31631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423991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9775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608262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86872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558375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36" tIns="62473" rIns="124936" bIns="62473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36" tIns="62473" rIns="124936" bIns="62473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892" indent="-1521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547" indent="-3212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6224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38"/>
            <a:ext cx="252377" cy="649386"/>
          </a:xfrm>
          <a:prstGeom prst="rect">
            <a:avLst/>
          </a:prstGeom>
          <a:noFill/>
        </p:spPr>
        <p:txBody>
          <a:bodyPr wrap="none" lIns="124936" tIns="62473" rIns="124936" bIns="62473" rtlCol="0">
            <a:spAutoFit/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79016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957337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771832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5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52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11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646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201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73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29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83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38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10"/>
            <a:ext cx="3034453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10"/>
            <a:ext cx="4118187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10"/>
            <a:ext cx="3034453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7329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2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294" algn="l"/>
              </a:tabLst>
              <a:defRPr sz="1400" b="1">
                <a:solidFill>
                  <a:srgbClr val="FFFFFF"/>
                </a:solidFill>
              </a:defRPr>
            </a:lvl2pPr>
            <a:lvl3pPr marL="1251246" indent="-12512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algn="r" defTabSz="87962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81014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25" y="4421636"/>
            <a:ext cx="248506" cy="647578"/>
          </a:xfrm>
          <a:prstGeom prst="rect">
            <a:avLst/>
          </a:prstGeom>
          <a:noFill/>
        </p:spPr>
        <p:txBody>
          <a:bodyPr wrap="none" lIns="122946" tIns="61544" rIns="122946" bIns="61544" rtlCol="0">
            <a:spAutoFit/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878053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2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294" algn="l"/>
              </a:tabLst>
              <a:defRPr sz="1400" b="1">
                <a:solidFill>
                  <a:srgbClr val="FFFFFF"/>
                </a:solidFill>
              </a:defRPr>
            </a:lvl2pPr>
            <a:lvl3pPr marL="1251246" indent="-12512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algn="r" defTabSz="87962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86931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6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599629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0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5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561703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014041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68908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350510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083438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50" tIns="62479" rIns="124950" bIns="62479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50" tIns="62479" rIns="124950" bIns="62479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932" indent="-15220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603" indent="-3213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21053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0" y="4421639"/>
            <a:ext cx="262460" cy="654418"/>
          </a:xfrm>
          <a:prstGeom prst="rect">
            <a:avLst/>
          </a:prstGeom>
          <a:noFill/>
        </p:spPr>
        <p:txBody>
          <a:bodyPr wrap="none" lIns="124950" tIns="62479" rIns="124950" bIns="62479" rtlCol="0">
            <a:spAutoFit/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201429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679021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842511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4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4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51073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57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59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24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66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22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77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33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880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436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07"/>
            <a:ext cx="3034453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07"/>
            <a:ext cx="4118187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07"/>
            <a:ext cx="3034453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708591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317" algn="l"/>
              </a:tabLst>
              <a:defRPr sz="1400" b="1">
                <a:solidFill>
                  <a:srgbClr val="FFFFFF"/>
                </a:solidFill>
              </a:defRPr>
            </a:lvl2pPr>
            <a:lvl3pPr marL="1245934" indent="-124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algn="r" defTabSz="87589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267438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317" algn="l"/>
              </a:tabLst>
              <a:defRPr sz="1400" b="1">
                <a:solidFill>
                  <a:srgbClr val="FFFFFF"/>
                </a:solidFill>
              </a:defRPr>
            </a:lvl2pPr>
            <a:lvl3pPr marL="1245934" indent="-124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algn="r" defTabSz="87589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9261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795857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7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325218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29835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169112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65779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63699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5553009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91" tIns="62214" rIns="124391" bIns="62214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91" tIns="62214" rIns="124391" bIns="62214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79" indent="-15158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89" indent="-3199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340360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2683"/>
            <a:ext cx="251302" cy="648875"/>
          </a:xfrm>
          <a:prstGeom prst="rect">
            <a:avLst/>
          </a:prstGeom>
          <a:noFill/>
        </p:spPr>
        <p:txBody>
          <a:bodyPr wrap="none" lIns="124391" tIns="62214" rIns="124391" bIns="62214" rtlCol="0">
            <a:spAutoFit/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798080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590072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6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6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025353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7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293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59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86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16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1445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373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6023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831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25"/>
            <a:ext cx="3034453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25"/>
            <a:ext cx="4118187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25"/>
            <a:ext cx="3034453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355419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7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173" algn="l"/>
              </a:tabLst>
              <a:defRPr sz="1400" b="1">
                <a:solidFill>
                  <a:srgbClr val="FFFFFF"/>
                </a:solidFill>
              </a:defRPr>
            </a:lvl2pPr>
            <a:lvl3pPr marL="1245742" indent="-12457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algn="r" defTabSz="87576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814138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7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173" algn="l"/>
              </a:tabLst>
              <a:defRPr sz="1400" b="1">
                <a:solidFill>
                  <a:srgbClr val="FFFFFF"/>
                </a:solidFill>
              </a:defRPr>
            </a:lvl2pPr>
            <a:lvl3pPr marL="1245742" indent="-12457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algn="r" defTabSz="87576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9349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19652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8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77816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2143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908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16061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3217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48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6429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08038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6964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1251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285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631"/>
            <a:ext cx="3034453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631"/>
            <a:ext cx="4118187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631"/>
            <a:ext cx="3034453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643964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071978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122929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47868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0" tIns="62204" rIns="124370" bIns="62204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0" tIns="62204" rIns="124370" bIns="62204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20" indent="-1515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16" indent="-3198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83211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6"/>
            <a:ext cx="251275" cy="648863"/>
          </a:xfrm>
          <a:prstGeom prst="rect">
            <a:avLst/>
          </a:prstGeom>
          <a:noFill/>
        </p:spPr>
        <p:txBody>
          <a:bodyPr wrap="none" lIns="124370" tIns="62204" rIns="124370" bIns="62204" rtlCol="0">
            <a:spAutoFit/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3122127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309320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7447555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8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284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574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8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12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139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368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595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823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30"/>
            <a:ext cx="3034453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30"/>
            <a:ext cx="4118187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30"/>
            <a:ext cx="3034453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903942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88003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888436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88003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019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8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691970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142610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4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46034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899224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119046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374432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6104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07" indent="-15226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13" indent="-3214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807054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7" y="4421635"/>
            <a:ext cx="262583" cy="654480"/>
          </a:xfrm>
          <a:prstGeom prst="rect">
            <a:avLst/>
          </a:prstGeom>
          <a:noFill/>
        </p:spPr>
        <p:txBody>
          <a:bodyPr wrap="none" lIns="125010" tIns="62507" rIns="125010" bIns="62507" rtlCol="0">
            <a:spAutoFit/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308927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2829064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598239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91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53644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44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88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82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751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342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91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50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808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666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195"/>
            <a:ext cx="3034453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195"/>
            <a:ext cx="4118187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195"/>
            <a:ext cx="3034453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529838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1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8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222" algn="l"/>
              </a:tabLst>
              <a:defRPr sz="1400" b="1">
                <a:solidFill>
                  <a:srgbClr val="FFFFFF"/>
                </a:solidFill>
              </a:defRPr>
            </a:lvl2pPr>
            <a:lvl3pPr marL="1245806" indent="-12458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algn="r" defTabSz="87580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662711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1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8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222" algn="l"/>
              </a:tabLst>
              <a:defRPr sz="1400" b="1">
                <a:solidFill>
                  <a:srgbClr val="FFFFFF"/>
                </a:solidFill>
              </a:defRPr>
            </a:lvl2pPr>
            <a:lvl3pPr marL="1245806" indent="-12458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algn="r" defTabSz="87580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99469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algn="r"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965422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7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411572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4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185248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algn="r"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690558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521258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2360" y="2848700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0384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7" tIns="62208" rIns="124377" bIns="62208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7" tIns="62208" rIns="124377" bIns="62208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39" indent="-1515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40" indent="-31990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3577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8" y="106935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101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5097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46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255159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164" y="4421636"/>
            <a:ext cx="251288" cy="648869"/>
          </a:xfrm>
          <a:prstGeom prst="rect">
            <a:avLst/>
          </a:prstGeom>
          <a:noFill/>
        </p:spPr>
        <p:txBody>
          <a:bodyPr wrap="none" lIns="124377" tIns="62208" rIns="124377" bIns="62208" rtlCol="0">
            <a:spAutoFit/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4310559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103405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6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6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040170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830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6088" algn="l"/>
              </a:tabLst>
              <a:defRPr sz="1400" b="1">
                <a:solidFill>
                  <a:srgbClr val="FFFFFF"/>
                </a:solidFill>
              </a:defRPr>
            </a:lvl2pPr>
            <a:lvl3pPr marL="1248302" indent="-124830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7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algn="r" defTabSz="8775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352957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830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6088" algn="l"/>
              </a:tabLst>
              <a:defRPr sz="1400" b="1">
                <a:solidFill>
                  <a:srgbClr val="FFFFFF"/>
                </a:solidFill>
              </a:defRPr>
            </a:lvl2pPr>
            <a:lvl3pPr marL="1248302" indent="-124830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7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algn="r" defTabSz="8775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70268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2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163941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2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93684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59802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74928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56210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222782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93763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640" tIns="62332" rIns="124640" bIns="62332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640" tIns="62332" rIns="124640" bIns="62332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016" indent="-15186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2482" indent="-32055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425027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6"/>
            <a:ext cx="251793" cy="649109"/>
          </a:xfrm>
          <a:prstGeom prst="rect">
            <a:avLst/>
          </a:prstGeom>
          <a:noFill/>
        </p:spPr>
        <p:txBody>
          <a:bodyPr wrap="none" lIns="124640" tIns="62332" rIns="124640" bIns="62332" rtlCol="0">
            <a:spAutoFit/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4120616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0473458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7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7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08637273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21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412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830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22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63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03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444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6850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926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74"/>
            <a:ext cx="3034453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74"/>
            <a:ext cx="4118187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74"/>
            <a:ext cx="3034453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367520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125182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ea typeface="ヒラギノ角ゴ Pro W3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84730250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125182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/>
                <a:ea typeface="ヒラギノ角ゴ Pro W3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579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JUNE 8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6290833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4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4332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481401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39774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MONTH XX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76359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096624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574225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07" indent="-15226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13" indent="-3214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66742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7" y="4421635"/>
            <a:ext cx="262583" cy="654480"/>
          </a:xfrm>
          <a:prstGeom prst="rect">
            <a:avLst/>
          </a:prstGeom>
          <a:noFill/>
        </p:spPr>
        <p:txBody>
          <a:bodyPr wrap="none" lIns="125010" tIns="62507" rIns="125010" bIns="62507" rtlCol="0">
            <a:spAutoFit/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41486053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4306931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0470190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09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423" algn="l"/>
              </a:tabLst>
              <a:defRPr sz="1400" b="1">
                <a:solidFill>
                  <a:srgbClr val="FFFFFF"/>
                </a:solidFill>
              </a:defRPr>
            </a:lvl2pPr>
            <a:lvl3pPr marL="1254099" indent="-125409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6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algn="r" defTabSz="88163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20329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09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423" algn="l"/>
              </a:tabLst>
              <a:defRPr sz="1400" b="1">
                <a:solidFill>
                  <a:srgbClr val="FFFFFF"/>
                </a:solidFill>
              </a:defRPr>
            </a:lvl2pPr>
            <a:lvl3pPr marL="1254099" indent="-125409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6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algn="r" defTabSz="88163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32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547352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006062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0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981955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90179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534138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653812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806403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49" tIns="62625" rIns="125249" bIns="62625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49" tIns="62625" rIns="125249" bIns="62625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816" indent="-1525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666" indent="-32207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39659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249" tIns="62625" rIns="125249" bIns="62625" rtlCol="0">
            <a:spAutoFit/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236772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813894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3461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11339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0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700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409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809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79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347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61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8872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15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1156"/>
            <a:ext cx="3034453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1156"/>
            <a:ext cx="4118187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1156"/>
            <a:ext cx="3034453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917594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 baseline="-250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February 5, 2016</a:t>
            </a: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6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809" algn="l"/>
              </a:tabLst>
              <a:defRPr sz="1400" b="1">
                <a:solidFill>
                  <a:srgbClr val="FFFFFF"/>
                </a:solidFill>
              </a:defRPr>
            </a:lvl2pPr>
            <a:lvl3pPr marL="1254611" indent="-12546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554016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74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6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809" algn="l"/>
              </a:tabLst>
              <a:defRPr sz="1400" b="1">
                <a:solidFill>
                  <a:srgbClr val="FFFFFF"/>
                </a:solidFill>
              </a:defRPr>
            </a:lvl2pPr>
            <a:lvl3pPr marL="1254611" indent="-12546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21498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0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6010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9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785914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14824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MONTH XX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72479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135122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44420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976" indent="-1525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860" indent="-32221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61336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4329293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682" y="4421093"/>
            <a:ext cx="253118" cy="49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92262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4788085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359356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593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725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46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816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89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3608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6335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905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1774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1144"/>
            <a:ext cx="3034453" cy="519289"/>
          </a:xfrm>
          <a:prstGeom prst="rect">
            <a:avLst/>
          </a:prstGeom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fld id="{7840AC4E-5910-40CE-8437-79371BF431A6}" type="datetimeFigureOut">
              <a:rPr lang="en-US" kern="1200" smtClean="0">
                <a:latin typeface="Arial" pitchFamily="34" charset="0"/>
              </a:rPr>
              <a:pPr defTabSz="882044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US" kern="1200"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1144"/>
            <a:ext cx="4118187" cy="519289"/>
          </a:xfrm>
          <a:prstGeom prst="rect">
            <a:avLst/>
          </a:prstGeom>
        </p:spPr>
        <p:txBody>
          <a:bodyPr lIns="125303" tIns="62652" rIns="125303" bIns="62652"/>
          <a:lstStyle>
            <a:lvl1pPr>
              <a:defRPr sz="340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1144"/>
            <a:ext cx="3034453" cy="519289"/>
          </a:xfrm>
          <a:prstGeom prst="rect">
            <a:avLst/>
          </a:prstGeom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fld id="{4ED17AD6-A8D9-4DF1-805D-0C1778C8E38B}" type="slidenum">
              <a:rPr lang="en-US" kern="1200" smtClean="0">
                <a:latin typeface="Arial" pitchFamily="34" charset="0"/>
              </a:rPr>
              <a:pPr defTabSz="882044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41914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789868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7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49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985" algn="l"/>
              </a:tabLst>
              <a:defRPr sz="1400" b="1">
                <a:solidFill>
                  <a:srgbClr val="FFFFFF"/>
                </a:solidFill>
              </a:defRPr>
            </a:lvl2pPr>
            <a:lvl3pPr marL="1257491" indent="-125749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algn="r" defTabSz="12574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368945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7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49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985" algn="l"/>
              </a:tabLst>
              <a:defRPr sz="1400" b="1">
                <a:solidFill>
                  <a:srgbClr val="FFFFFF"/>
                </a:solidFill>
              </a:defRPr>
            </a:lvl2pPr>
            <a:lvl3pPr marL="1257491" indent="-125749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algn="r" defTabSz="12574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78304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3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5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algn="r"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269889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3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0719533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65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2368355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5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algn="r"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75982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38292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9162245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07" tIns="62804" rIns="125607" bIns="62804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07" tIns="62804" rIns="125607" bIns="62804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872" indent="-15291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948" indent="-32296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138481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607" tIns="62804" rIns="125607" bIns="62804" rtlCol="0">
            <a:spAutoFit/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122473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980689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25157222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284096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0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024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5065" algn="l"/>
              </a:tabLst>
              <a:defRPr sz="1400" b="1">
                <a:solidFill>
                  <a:srgbClr val="FFFFFF"/>
                </a:solidFill>
              </a:defRPr>
            </a:lvl2pPr>
            <a:lvl3pPr marL="1260243" indent="-126024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26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algn="r" defTabSz="126024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372714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0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024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5065" algn="l"/>
              </a:tabLst>
              <a:defRPr sz="1400" b="1">
                <a:solidFill>
                  <a:srgbClr val="FFFFFF"/>
                </a:solidFill>
              </a:defRPr>
            </a:lvl2pPr>
            <a:lvl3pPr marL="1260243" indent="-126024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26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algn="r" defTabSz="126024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580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8730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15965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3198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8479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46391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07990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69587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31185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492781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980279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17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288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algn="r"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369701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370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54473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62266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288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algn="r"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946736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643282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828238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896" tIns="62949" rIns="125896" bIns="62949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896" tIns="62949" rIns="125896" bIns="62949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1728" indent="-1532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987" indent="-32369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90229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896" tIns="62949" rIns="125896" bIns="62949" rtlCol="0">
            <a:spAutoFit/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220485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952323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60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60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40946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7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61287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1019"/>
            <a:ext cx="3034453" cy="519289"/>
          </a:xfrm>
          <a:prstGeom prst="rect">
            <a:avLst/>
          </a:prstGeom>
        </p:spPr>
        <p:txBody>
          <a:bodyPr vert="horz" wrap="square" lIns="125876" tIns="62939" rIns="125876" bIns="6293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1260243" fontAlgn="base">
              <a:spcBef>
                <a:spcPct val="0"/>
              </a:spcBef>
              <a:spcAft>
                <a:spcPct val="0"/>
              </a:spcAft>
            </a:pPr>
            <a:fld id="{5C57AE4C-2377-4732-8FEC-DE1B221ECC56}" type="datetimeFigureOut">
              <a:rPr lang="en-US" sz="2600" kern="1200" smtClean="0">
                <a:latin typeface="Arial"/>
              </a:rPr>
              <a:pPr defTabSz="1260243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2600" kern="1200"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8" y="9041019"/>
            <a:ext cx="4118187" cy="519289"/>
          </a:xfrm>
          <a:prstGeom prst="rect">
            <a:avLst/>
          </a:prstGeom>
        </p:spPr>
        <p:txBody>
          <a:bodyPr lIns="125876" tIns="62939" rIns="125876" bIns="6293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1260243">
              <a:defRPr/>
            </a:pPr>
            <a:endParaRPr lang="en-US" sz="26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1019"/>
            <a:ext cx="3034453" cy="519289"/>
          </a:xfrm>
          <a:prstGeom prst="rect">
            <a:avLst/>
          </a:prstGeom>
        </p:spPr>
        <p:txBody>
          <a:bodyPr vert="horz" wrap="square" lIns="125876" tIns="62939" rIns="125876" bIns="6293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1260243" fontAlgn="base">
              <a:spcBef>
                <a:spcPct val="0"/>
              </a:spcBef>
              <a:spcAft>
                <a:spcPct val="0"/>
              </a:spcAft>
            </a:pPr>
            <a:fld id="{7D322E73-F343-4EB4-AFE2-E320DB3BAA72}" type="slidenum">
              <a:rPr lang="en-US" sz="2600" kern="1200" smtClean="0">
                <a:latin typeface="Arial"/>
              </a:rPr>
              <a:pPr defTabSz="126024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726192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371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133" algn="l"/>
              </a:tabLst>
              <a:defRPr sz="1400" b="1">
                <a:solidFill>
                  <a:srgbClr val="FFFFFF"/>
                </a:solidFill>
              </a:defRPr>
            </a:lvl2pPr>
            <a:lvl3pPr marL="1253715" indent="-125371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7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algn="r" defTabSz="8867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810102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371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133" algn="l"/>
              </a:tabLst>
              <a:defRPr sz="1400" b="1">
                <a:solidFill>
                  <a:srgbClr val="FFFFFF"/>
                </a:solidFill>
              </a:defRPr>
            </a:lvl2pPr>
            <a:lvl3pPr marL="1253715" indent="-125371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7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algn="r" defTabSz="8867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420563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2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33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algn="r"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852987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1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342483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65567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33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algn="r"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6527210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7630827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929789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09" tIns="62605" rIns="125209" bIns="62605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09" tIns="62605" rIns="125209" bIns="62605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697" indent="-15248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521" indent="-32197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11602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5965" indent="0">
              <a:buNone/>
              <a:defRPr sz="2800" b="1"/>
            </a:lvl2pPr>
            <a:lvl3pPr marL="1231986" indent="0">
              <a:buNone/>
              <a:defRPr sz="2600" b="1"/>
            </a:lvl3pPr>
            <a:lvl4pPr marL="1847957" indent="0">
              <a:buNone/>
              <a:defRPr sz="2300" b="1"/>
            </a:lvl4pPr>
            <a:lvl5pPr marL="2463917" indent="0">
              <a:buNone/>
              <a:defRPr sz="2300" b="1"/>
            </a:lvl5pPr>
            <a:lvl6pPr marL="3079909" indent="0">
              <a:buNone/>
              <a:defRPr sz="2300" b="1"/>
            </a:lvl6pPr>
            <a:lvl7pPr marL="3695873" indent="0">
              <a:buNone/>
              <a:defRPr sz="2300" b="1"/>
            </a:lvl7pPr>
            <a:lvl8pPr marL="4311853" indent="0">
              <a:buNone/>
              <a:defRPr sz="2300" b="1"/>
            </a:lvl8pPr>
            <a:lvl9pPr marL="4927813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5965" indent="0">
              <a:buNone/>
              <a:defRPr sz="2800" b="1"/>
            </a:lvl2pPr>
            <a:lvl3pPr marL="1231986" indent="0">
              <a:buNone/>
              <a:defRPr sz="2600" b="1"/>
            </a:lvl3pPr>
            <a:lvl4pPr marL="1847957" indent="0">
              <a:buNone/>
              <a:defRPr sz="2300" b="1"/>
            </a:lvl4pPr>
            <a:lvl5pPr marL="2463917" indent="0">
              <a:buNone/>
              <a:defRPr sz="2300" b="1"/>
            </a:lvl5pPr>
            <a:lvl6pPr marL="3079909" indent="0">
              <a:buNone/>
              <a:defRPr sz="2300" b="1"/>
            </a:lvl6pPr>
            <a:lvl7pPr marL="3695873" indent="0">
              <a:buNone/>
              <a:defRPr sz="2300" b="1"/>
            </a:lvl7pPr>
            <a:lvl8pPr marL="4311853" indent="0">
              <a:buNone/>
              <a:defRPr sz="2300" b="1"/>
            </a:lvl8pPr>
            <a:lvl9pPr marL="4927813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40161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209" tIns="62605" rIns="125209" bIns="62605" rtlCol="0">
            <a:spAutoFit/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727836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875880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1526605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 baseline="-250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8561494" y="1045352"/>
            <a:ext cx="3781778" cy="307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ct val="20000"/>
              </a:spcBef>
              <a:spcAft>
                <a:spcPts val="852"/>
              </a:spcAft>
              <a:buClr>
                <a:srgbClr val="A3B222"/>
              </a:buClr>
              <a:defRPr/>
            </a:pPr>
            <a:endParaRPr lang="en-US" sz="1000" b="1" kern="1200" dirty="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5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734" algn="l"/>
              </a:tabLst>
              <a:defRPr sz="1400" b="1">
                <a:solidFill>
                  <a:srgbClr val="FFFFFF"/>
                </a:solidFill>
              </a:defRPr>
            </a:lvl2pPr>
            <a:lvl3pPr marL="1254510" indent="-12545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78442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ct val="20000"/>
              </a:spcBef>
              <a:spcAft>
                <a:spcPts val="852"/>
              </a:spcAft>
              <a:buClr>
                <a:srgbClr val="A3B222"/>
              </a:buClr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41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5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734" algn="l"/>
              </a:tabLst>
              <a:defRPr sz="1400" b="1">
                <a:solidFill>
                  <a:srgbClr val="FFFFFF"/>
                </a:solidFill>
              </a:defRPr>
            </a:lvl2pPr>
            <a:lvl3pPr marL="1254510" indent="-12545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794307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5300"/>
            <a:ext cx="7610216" cy="1250807"/>
          </a:xfrm>
        </p:spPr>
        <p:txBody>
          <a:bodyPr/>
          <a:lstStyle>
            <a:lvl1pPr marL="0" indent="0">
              <a:spcAft>
                <a:spcPts val="852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2787175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8" y="1068909"/>
            <a:ext cx="11971695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495"/>
            <a:ext cx="7784064" cy="1250807"/>
          </a:xfrm>
        </p:spPr>
        <p:txBody>
          <a:bodyPr/>
          <a:lstStyle>
            <a:lvl1pPr marL="0" indent="0">
              <a:spcAft>
                <a:spcPts val="852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85265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44013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935085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109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3463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13869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2847517"/>
            <a:ext cx="5659496" cy="6431960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17"/>
            <a:ext cx="5659496" cy="6431960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71602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290" tIns="62646" rIns="125290" bIns="62646"/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290" tIns="62646" rIns="125290" bIns="62646"/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42"/>
            <a:ext cx="5659496" cy="5396840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8" y="3006458"/>
            <a:ext cx="5659496" cy="435749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940" indent="-15257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8"/>
            <a:ext cx="5659496" cy="435749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820" indent="-3221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90087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656" y="4421207"/>
            <a:ext cx="253092" cy="49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5"/>
            <a:ext cx="11697095" cy="163508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073308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1"/>
            <a:ext cx="11704321" cy="163508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2830204"/>
            <a:ext cx="5659496" cy="6012157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0" y="2818160"/>
            <a:ext cx="5682827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0148956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6" y="3130784"/>
            <a:ext cx="5682827" cy="5839369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3" y="3130784"/>
            <a:ext cx="5682827" cy="5839369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617687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889994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9304" y="830820"/>
            <a:ext cx="11862364" cy="66233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20197" y="1672188"/>
            <a:ext cx="11846561" cy="853520"/>
          </a:xfrm>
        </p:spPr>
        <p:txBody>
          <a:bodyPr/>
          <a:lstStyle>
            <a:lvl1pPr marL="0" indent="0">
              <a:buNone/>
              <a:defRPr sz="1800" baseline="0"/>
            </a:lvl1pPr>
            <a:lvl2pPr marL="0" indent="0">
              <a:buFont typeface="Arial" panose="020B0604020202020204" pitchFamily="34" charset="0"/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520197" y="2773552"/>
            <a:ext cx="11846561" cy="6099011"/>
          </a:xfrm>
        </p:spPr>
        <p:txBody>
          <a:bodyPr tIns="1505224"/>
          <a:lstStyle>
            <a:lvl1pPr marL="0" indent="0" algn="ctr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7997050" y="9283984"/>
            <a:ext cx="4118187" cy="295770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 algn="r">
              <a:defRPr sz="3300"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r>
              <a:rPr lang="en-US" kern="1200">
                <a:latin typeface="Arial" pitchFamily="34" charset="0"/>
              </a:rPr>
              <a:t>© 2014 Bill &amp; Melinda Gates Foundation      |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2117494" y="9284983"/>
            <a:ext cx="268675" cy="293511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>
              <a:defRPr sz="3300"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fld id="{6BCC8025-1A83-40B0-9572-DF870069E35A}" type="slidenum">
              <a:rPr lang="en-US" kern="1200" smtClean="0">
                <a:latin typeface="Arial" pitchFamily="34" charset="0"/>
              </a:rPr>
              <a:pPr defTabSz="88741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515459"/>
      </p:ext>
    </p:extLst>
  </p:cSld>
  <p:clrMapOvr>
    <a:masterClrMapping/>
  </p:clrMapOvr>
  <p:transition spd="med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0592" y="9103360"/>
            <a:ext cx="1819769" cy="46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870" y="345444"/>
            <a:ext cx="12433583" cy="525272"/>
          </a:xfrm>
        </p:spPr>
        <p:txBody>
          <a:bodyPr/>
          <a:lstStyle>
            <a:lvl1pPr>
              <a:defRPr sz="3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1965" y="8896235"/>
            <a:ext cx="12354560" cy="328293"/>
          </a:xfrm>
        </p:spPr>
        <p:txBody>
          <a:bodyPr anchor="b">
            <a:noAutofit/>
          </a:bodyPr>
          <a:lstStyle>
            <a:lvl1pPr>
              <a:defRPr sz="13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5852160" y="9235312"/>
            <a:ext cx="1300480" cy="259645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7F7F7F"/>
                </a:solidFill>
                <a:ea typeface="ヒラギノ角ゴ Pro W3" pitchFamily="2" charset="-128"/>
              </a:defRPr>
            </a:lvl1pPr>
          </a:lstStyle>
          <a:p>
            <a:pPr defTabSz="887412" fontAlgn="base">
              <a:spcBef>
                <a:spcPct val="0"/>
              </a:spcBef>
              <a:spcAft>
                <a:spcPct val="0"/>
              </a:spcAft>
            </a:pPr>
            <a:fld id="{EF1F2093-9330-48BB-AC97-1208F7A2321C}" type="slidenum">
              <a:rPr lang="en-US" sz="2600" kern="1200" smtClean="0">
                <a:latin typeface="Arial" pitchFamily="34" charset="0"/>
              </a:rPr>
              <a:pPr defTabSz="88741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17402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563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1583" algn="l"/>
              </a:tabLst>
              <a:defRPr sz="1400" b="1">
                <a:solidFill>
                  <a:srgbClr val="FFFFFF"/>
                </a:solidFill>
              </a:defRPr>
            </a:lvl2pPr>
            <a:lvl3pPr marL="1255635" indent="-125563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algn="r" defTabSz="88809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2274329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563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1583" algn="l"/>
              </a:tabLst>
              <a:defRPr sz="1400" b="1">
                <a:solidFill>
                  <a:srgbClr val="FFFFFF"/>
                </a:solidFill>
              </a:defRPr>
            </a:lvl2pPr>
            <a:lvl3pPr marL="1255635" indent="-125563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algn="r" defTabSz="88809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5820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736236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9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algn="r"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350839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7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082233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49601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9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algn="r"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320718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81055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8592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411" tIns="62706" rIns="125411" bIns="62706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411" tIns="62706" rIns="125411" bIns="62706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294" indent="-1527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247" indent="-3224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988331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411" tIns="62706" rIns="125411" bIns="62706" rtlCol="0">
            <a:spAutoFit/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75041233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915204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6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6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87106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801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801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5965" indent="0">
              <a:buNone/>
              <a:defRPr sz="2000"/>
            </a:lvl2pPr>
            <a:lvl3pPr marL="1231986" indent="0">
              <a:buNone/>
              <a:defRPr sz="1700"/>
            </a:lvl3pPr>
            <a:lvl4pPr marL="1847957" indent="0">
              <a:buNone/>
              <a:defRPr sz="1400"/>
            </a:lvl4pPr>
            <a:lvl5pPr marL="2463917" indent="0">
              <a:buNone/>
              <a:defRPr sz="1400"/>
            </a:lvl5pPr>
            <a:lvl6pPr marL="3079909" indent="0">
              <a:buNone/>
              <a:defRPr sz="1400"/>
            </a:lvl6pPr>
            <a:lvl7pPr marL="3695873" indent="0">
              <a:buNone/>
              <a:defRPr sz="1400"/>
            </a:lvl7pPr>
            <a:lvl8pPr marL="4311853" indent="0">
              <a:buNone/>
              <a:defRPr sz="1400"/>
            </a:lvl8pPr>
            <a:lvl9pPr marL="4927813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100528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8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67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405" algn="l"/>
              </a:tabLst>
              <a:defRPr sz="1400" b="1">
                <a:solidFill>
                  <a:srgbClr val="FFFFFF"/>
                </a:solidFill>
              </a:defRPr>
            </a:lvl2pPr>
            <a:lvl3pPr marL="1256723" indent="-12567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algn="r" defTabSz="88886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2454239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8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67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405" algn="l"/>
              </a:tabLst>
              <a:defRPr sz="1400" b="1">
                <a:solidFill>
                  <a:srgbClr val="FFFFFF"/>
                </a:solidFill>
              </a:defRPr>
            </a:lvl2pPr>
            <a:lvl3pPr marL="1256723" indent="-12567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algn="r" defTabSz="88886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448002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6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algn="r"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7308702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4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893812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9152292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6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algn="r"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22276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57045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63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63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936604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526" tIns="62763" rIns="125526" bIns="62763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526" tIns="62763" rIns="125526" bIns="62763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633" indent="-15282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658" indent="-32276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03243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526" tIns="62763" rIns="125526" bIns="62763" rtlCol="0">
            <a:spAutoFit/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06132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801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15965" indent="0">
              <a:buNone/>
              <a:defRPr sz="4000"/>
            </a:lvl2pPr>
            <a:lvl3pPr marL="1231986" indent="0">
              <a:buNone/>
              <a:defRPr sz="3400"/>
            </a:lvl3pPr>
            <a:lvl4pPr marL="1847957" indent="0">
              <a:buNone/>
              <a:defRPr sz="2800"/>
            </a:lvl4pPr>
            <a:lvl5pPr marL="2463917" indent="0">
              <a:buNone/>
              <a:defRPr sz="2800"/>
            </a:lvl5pPr>
            <a:lvl6pPr marL="3079909" indent="0">
              <a:buNone/>
              <a:defRPr sz="2800"/>
            </a:lvl6pPr>
            <a:lvl7pPr marL="3695873" indent="0">
              <a:buNone/>
              <a:defRPr sz="2800"/>
            </a:lvl7pPr>
            <a:lvl8pPr marL="4311853" indent="0">
              <a:buNone/>
              <a:defRPr sz="2800"/>
            </a:lvl8pPr>
            <a:lvl9pPr marL="4927813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801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5965" indent="0">
              <a:buNone/>
              <a:defRPr sz="2000"/>
            </a:lvl2pPr>
            <a:lvl3pPr marL="1231986" indent="0">
              <a:buNone/>
              <a:defRPr sz="1700"/>
            </a:lvl3pPr>
            <a:lvl4pPr marL="1847957" indent="0">
              <a:buNone/>
              <a:defRPr sz="1400"/>
            </a:lvl4pPr>
            <a:lvl5pPr marL="2463917" indent="0">
              <a:buNone/>
              <a:defRPr sz="1400"/>
            </a:lvl5pPr>
            <a:lvl6pPr marL="3079909" indent="0">
              <a:buNone/>
              <a:defRPr sz="1400"/>
            </a:lvl6pPr>
            <a:lvl7pPr marL="3695873" indent="0">
              <a:buNone/>
              <a:defRPr sz="1400"/>
            </a:lvl7pPr>
            <a:lvl8pPr marL="4311853" indent="0">
              <a:buNone/>
              <a:defRPr sz="1400"/>
            </a:lvl8pPr>
            <a:lvl9pPr marL="4927813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92497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2815054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582927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6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8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3227" algn="l"/>
              </a:tabLst>
              <a:defRPr sz="1400" b="1">
                <a:solidFill>
                  <a:srgbClr val="FFFFFF"/>
                </a:solidFill>
              </a:defRPr>
            </a:lvl2pPr>
            <a:lvl3pPr marL="1257811" indent="-12578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algn="r" defTabSz="8896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8059341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6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8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3227" algn="l"/>
              </a:tabLst>
              <a:defRPr sz="1400" b="1">
                <a:solidFill>
                  <a:srgbClr val="FFFFFF"/>
                </a:solidFill>
              </a:defRPr>
            </a:lvl2pPr>
            <a:lvl3pPr marL="1257811" indent="-12578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algn="r" defTabSz="8896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3016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2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4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algn="r"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6494171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2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51911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3760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4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algn="r"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4996300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246479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0239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28468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40" tIns="62821" rIns="125640" bIns="6282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40" tIns="62821" rIns="125640" bIns="6282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2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971" indent="-15295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069" indent="-32305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359118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640" tIns="62821" rIns="125640" bIns="62821" rtlCol="0">
            <a:spAutoFit/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1180542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2790401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1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1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144113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3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902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4146" algn="l"/>
              </a:tabLst>
              <a:defRPr sz="1400" b="1">
                <a:solidFill>
                  <a:srgbClr val="FFFFFF"/>
                </a:solidFill>
              </a:defRPr>
            </a:lvl2pPr>
            <a:lvl3pPr marL="1259027" indent="-125902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5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algn="r" defTabSz="89041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232743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3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902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4146" algn="l"/>
              </a:tabLst>
              <a:defRPr sz="1400" b="1">
                <a:solidFill>
                  <a:srgbClr val="FFFFFF"/>
                </a:solidFill>
              </a:defRPr>
            </a:lvl2pPr>
            <a:lvl3pPr marL="1259027" indent="-125902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5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algn="r" defTabSz="89041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88923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0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1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algn="r"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9046694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39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643005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5265245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1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algn="r"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54317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90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307" y="519290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21497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653621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020909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768" tIns="62885" rIns="125768" bIns="62885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768" tIns="62885" rIns="125768" bIns="62885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1350" indent="-15309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528" indent="-32337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8024591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768" tIns="62885" rIns="125768" bIns="62885" rtlCol="0">
            <a:spAutoFit/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81454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531348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68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68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55090480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63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357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7579" algn="l"/>
              </a:tabLst>
              <a:defRPr sz="1400" b="1">
                <a:solidFill>
                  <a:srgbClr val="FFFFFF"/>
                </a:solidFill>
              </a:defRPr>
            </a:lvl2pPr>
            <a:lvl3pPr marL="1263571" indent="-126357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75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algn="r" defTabSz="89373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602231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63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357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7579" algn="l"/>
              </a:tabLst>
              <a:defRPr sz="1400" b="1">
                <a:solidFill>
                  <a:srgbClr val="FFFFFF"/>
                </a:solidFill>
              </a:defRPr>
            </a:lvl2pPr>
            <a:lvl3pPr marL="1263571" indent="-126357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75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algn="r" defTabSz="89373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1434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10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21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algn="r"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597817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3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9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0111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56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451" algn="l"/>
              </a:tabLst>
              <a:defRPr sz="1400" b="1">
                <a:solidFill>
                  <a:srgbClr val="FFFFFF"/>
                </a:solidFill>
              </a:defRPr>
            </a:lvl2pPr>
            <a:lvl3pPr marL="1232562" indent="-123256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431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4030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814660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21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algn="r"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555309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048116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1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1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535834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246" tIns="63124" rIns="126246" bIns="63124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246" tIns="63124" rIns="126246" bIns="63124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2763" indent="-15361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8253" indent="-32456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7856347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246" tIns="63124" rIns="126246" bIns="63124" rtlCol="0">
            <a:spAutoFit/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757315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0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422675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6503290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600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9417" algn="l"/>
              </a:tabLst>
              <a:defRPr sz="1400" b="1">
                <a:solidFill>
                  <a:srgbClr val="FFFFFF"/>
                </a:solidFill>
              </a:defRPr>
            </a:lvl2pPr>
            <a:lvl3pPr marL="1266003" indent="-126600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9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algn="r" defTabSz="89460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2836897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600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9417" algn="l"/>
              </a:tabLst>
              <a:defRPr sz="1400" b="1">
                <a:solidFill>
                  <a:srgbClr val="FFFFFF"/>
                </a:solidFill>
              </a:defRPr>
            </a:lvl2pPr>
            <a:lvl3pPr marL="1266003" indent="-126600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9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algn="r" defTabSz="89460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5561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56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451" algn="l"/>
              </a:tabLst>
              <a:defRPr sz="1400" b="1">
                <a:solidFill>
                  <a:srgbClr val="FFFFFF"/>
                </a:solidFill>
              </a:defRPr>
            </a:lvl2pPr>
            <a:lvl3pPr marL="1232562" indent="-123256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431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1292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4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16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algn="r"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5557902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67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4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71494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30643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16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algn="r"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3895090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90444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2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2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41260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502" tIns="63252" rIns="126502" bIns="63252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502" tIns="63252" rIns="126502" bIns="63252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3521" indent="-1539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9179" indent="-32520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432761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502" tIns="63252" rIns="126502" bIns="63252" rtlCol="0">
            <a:spAutoFit/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0497882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5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0571757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3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3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81471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6268788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1690933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7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726" algn="l"/>
              </a:tabLst>
              <a:defRPr sz="1400" b="1">
                <a:solidFill>
                  <a:srgbClr val="FFFFFF"/>
                </a:solidFill>
              </a:defRPr>
            </a:lvl2pPr>
            <a:lvl3pPr marL="1267731" indent="-12677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6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algn="r" defTabSz="89552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299173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7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726" algn="l"/>
              </a:tabLst>
              <a:defRPr sz="1400" b="1">
                <a:solidFill>
                  <a:srgbClr val="FFFFFF"/>
                </a:solidFill>
              </a:defRPr>
            </a:lvl2pPr>
            <a:lvl3pPr marL="1267731" indent="-12677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6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algn="r" defTabSz="89552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758894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0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12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algn="r"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949759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63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0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627779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660845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12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algn="r"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98086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9739705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21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21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82306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84" tIns="63343" rIns="126684" bIns="63343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84" tIns="63343" rIns="126684" bIns="63343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4060" indent="-1541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9842" indent="-3256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3025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775244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684" tIns="63343" rIns="126684" bIns="63343" rtlCol="0">
            <a:spAutoFit/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290827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1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3419815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14472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9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98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837" algn="l"/>
              </a:tabLst>
              <a:defRPr sz="1400" b="1">
                <a:solidFill>
                  <a:srgbClr val="FFFFFF"/>
                </a:solidFill>
              </a:defRPr>
            </a:lvl2pPr>
            <a:lvl3pPr marL="1251987" indent="-125198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algn="r" defTabSz="88014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4428625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9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98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837" algn="l"/>
              </a:tabLst>
              <a:defRPr sz="1400" b="1">
                <a:solidFill>
                  <a:srgbClr val="FFFFFF"/>
                </a:solidFill>
              </a:defRPr>
            </a:lvl2pPr>
            <a:lvl3pPr marL="1251987" indent="-125198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algn="r" defTabSz="88014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34742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7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algn="r"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42412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86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5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71294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0812252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7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algn="r"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521269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45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21945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747490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56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56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651894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27" tIns="62514" rIns="125027" bIns="62514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27" tIns="62514" rIns="125027" bIns="62514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59" indent="-1522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69" indent="-32152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246530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52561" cy="649469"/>
          </a:xfrm>
          <a:prstGeom prst="rect">
            <a:avLst/>
          </a:prstGeom>
          <a:noFill/>
        </p:spPr>
        <p:txBody>
          <a:bodyPr wrap="none" lIns="125027" tIns="62514" rIns="125027" bIns="62514" rtlCol="0">
            <a:spAutoFit/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7074660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8220684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4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4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3894660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4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52" algn="l"/>
              </a:tabLst>
              <a:defRPr sz="1400" b="1">
                <a:solidFill>
                  <a:srgbClr val="FFFFFF"/>
                </a:solidFill>
              </a:defRPr>
            </a:lvl2pPr>
            <a:lvl3pPr marL="1273947" indent="-1273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74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3674548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4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52" algn="l"/>
              </a:tabLst>
              <a:defRPr sz="1400" b="1">
                <a:solidFill>
                  <a:srgbClr val="FFFFFF"/>
                </a:solidFill>
              </a:defRPr>
            </a:lvl2pPr>
            <a:lvl3pPr marL="1273947" indent="-1273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74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63972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7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98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80020435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50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6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120191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77175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73" y="412843"/>
            <a:ext cx="5521623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3227550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98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7160334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88398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64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08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08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4238306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014" indent="-1548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2230" indent="-3272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313887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7338" tIns="63669" rIns="127338" bIns="63669" rtlCol="0">
            <a:spAutoFit/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8933182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64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7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607286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35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35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283161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0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88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9142" algn="l"/>
              </a:tabLst>
              <a:defRPr sz="1400" b="1">
                <a:solidFill>
                  <a:srgbClr val="FFFFFF"/>
                </a:solidFill>
              </a:defRPr>
            </a:lvl2pPr>
            <a:lvl3pPr marL="1278854" indent="-12788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1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algn="r" defTabSz="90368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42" y="635889"/>
            <a:ext cx="3462134" cy="67335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2800" y="276537"/>
            <a:ext cx="3499834" cy="9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728265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0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88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9142" algn="l"/>
              </a:tabLst>
              <a:defRPr sz="1400" b="1">
                <a:solidFill>
                  <a:srgbClr val="FFFFFF"/>
                </a:solidFill>
              </a:defRPr>
            </a:lvl2pPr>
            <a:lvl3pPr marL="1278854" indent="-12788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1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algn="r" defTabSz="90368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901876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576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8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algn="r"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70506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843"/>
            <a:ext cx="5756430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81288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39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96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8753775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59636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8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algn="r"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644843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2985792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79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3047675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843" tIns="63922" rIns="127843" bIns="63922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843" tIns="63922" rIns="127843" bIns="63922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7529" indent="-1554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4076" indent="-32856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26460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353" y="4421637"/>
            <a:ext cx="262729" cy="656590"/>
          </a:xfrm>
          <a:prstGeom prst="rect">
            <a:avLst/>
          </a:prstGeom>
          <a:noFill/>
        </p:spPr>
        <p:txBody>
          <a:bodyPr wrap="none" lIns="127843" tIns="63922" rIns="127843" bIns="63922" rtlCol="0">
            <a:spAutoFit/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3181430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67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5818103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12798082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94080" y="9040612"/>
            <a:ext cx="292608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fld id="{4AC83CBC-2D19-4E1C-B4D0-6BC2AADAD67C}" type="datetimeFigureOut">
              <a:rPr lang="en-US" sz="2600" kern="1200" smtClean="0">
                <a:solidFill>
                  <a:prstClr val="black"/>
                </a:solidFill>
                <a:latin typeface="Palatino Linotype"/>
                <a:ea typeface="ＭＳ Ｐゴシック" panose="020B0600070205080204" pitchFamily="34" charset="-128"/>
              </a:rPr>
              <a:pPr defTabSz="903682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07840" y="9040612"/>
            <a:ext cx="438912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84640" y="9040612"/>
            <a:ext cx="292608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fld id="{8FA36096-121A-4914-8E8E-0CB8FB3D1CE6}" type="slidenum">
              <a:rPr lang="en-US" sz="2600" kern="1200" smtClean="0">
                <a:solidFill>
                  <a:prstClr val="black"/>
                </a:solidFill>
                <a:latin typeface="Palatino Linotype"/>
                <a:ea typeface="ＭＳ Ｐゴシック" panose="020B0600070205080204" pitchFamily="34" charset="-128"/>
              </a:rPr>
              <a:pPr defTabSz="90368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43419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159313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25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0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0717" algn="l"/>
              </a:tabLst>
              <a:defRPr sz="1400" b="1">
                <a:solidFill>
                  <a:srgbClr val="FFFFFF"/>
                </a:solidFill>
              </a:defRPr>
            </a:lvl2pPr>
            <a:lvl3pPr marL="1280947" indent="-1280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218104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25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0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0717" algn="l"/>
              </a:tabLst>
              <a:defRPr sz="1400" b="1">
                <a:solidFill>
                  <a:srgbClr val="FFFFFF"/>
                </a:solidFill>
              </a:defRPr>
            </a:lvl2pPr>
            <a:lvl3pPr marL="1280947" indent="-1280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37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t" anchorCtr="0" compatLnSpc="1">
            <a:prstTxWarp prst="textNoShape">
              <a:avLst/>
            </a:prstTxWarp>
          </a:bodyPr>
          <a:lstStyle/>
          <a:p>
            <a:pPr algn="r" defTabSz="90077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141406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71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169824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34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91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259694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508358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8887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07562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2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92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234502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059" tIns="64030" rIns="128059" bIns="64030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059" tIns="64030" rIns="128059" bIns="64030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8176" indent="-15567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4864" indent="-32911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5532654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8059" tIns="64030" rIns="128059" bIns="64030" rtlCol="0">
            <a:spAutoFit/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969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86" tIns="61561" rIns="122986" bIns="6156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86" tIns="61561" rIns="122986" bIns="6156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125" indent="-15004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6546" indent="-31641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309180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614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863595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155454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62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7161" algn="l"/>
              </a:tabLst>
              <a:defRPr sz="1400" b="1">
                <a:solidFill>
                  <a:srgbClr val="FFFFFF"/>
                </a:solidFill>
              </a:defRPr>
            </a:lvl2pPr>
            <a:lvl3pPr marL="1276223" indent="-12762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7496274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62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7161" algn="l"/>
              </a:tabLst>
              <a:defRPr sz="1400" b="1">
                <a:solidFill>
                  <a:srgbClr val="FFFFFF"/>
                </a:solidFill>
              </a:defRPr>
            </a:lvl2pPr>
            <a:lvl3pPr marL="1276223" indent="-12762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t" anchorCtr="0" compatLnSpc="1">
            <a:prstTxWarp prst="textNoShape">
              <a:avLst/>
            </a:prstTxWarp>
          </a:bodyPr>
          <a:lstStyle/>
          <a:p>
            <a:pPr algn="r" defTabSz="89733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4917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1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086313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44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0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0821997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54646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39983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1976812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0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90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83100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1" y="4421651"/>
            <a:ext cx="248575" cy="647605"/>
          </a:xfrm>
          <a:prstGeom prst="rect">
            <a:avLst/>
          </a:prstGeom>
          <a:noFill/>
        </p:spPr>
        <p:txBody>
          <a:bodyPr wrap="none" lIns="122986" tIns="61561" rIns="122986" bIns="61561" rtlCol="0">
            <a:spAutoFit/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311127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573" tIns="63787" rIns="127573" bIns="63787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573" tIns="63787" rIns="127573" bIns="63787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714" indent="-1551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3084" indent="-3278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54859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8"/>
            <a:ext cx="259510" cy="652944"/>
          </a:xfrm>
          <a:prstGeom prst="rect">
            <a:avLst/>
          </a:prstGeom>
          <a:noFill/>
        </p:spPr>
        <p:txBody>
          <a:bodyPr wrap="none" lIns="127573" tIns="63787" rIns="127573" bIns="63787" rtlCol="0">
            <a:spAutoFit/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6512391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2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393675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8570353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5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486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3661" algn="l"/>
              </a:tabLst>
              <a:defRPr sz="1400" b="1">
                <a:solidFill>
                  <a:srgbClr val="FFFFFF"/>
                </a:solidFill>
              </a:defRPr>
            </a:lvl2pPr>
            <a:lvl3pPr marL="1284864" indent="-128486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7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algn="r" defTabSz="90338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7257100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5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486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3661" algn="l"/>
              </a:tabLst>
              <a:defRPr sz="1400" b="1">
                <a:solidFill>
                  <a:srgbClr val="FFFFFF"/>
                </a:solidFill>
              </a:defRPr>
            </a:lvl2pPr>
            <a:lvl3pPr marL="1284864" indent="-128486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7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algn="r" defTabSz="90338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86172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62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algn="r"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909560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25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81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590554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4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286398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algn="r"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2122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2340190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6078274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16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83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498" y="2847838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1679189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459" tIns="64232" rIns="128459" bIns="64232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459" tIns="64232" rIns="128459" bIns="64232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2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9382" indent="-15615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6336" indent="-3301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818023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76" y="4421636"/>
            <a:ext cx="261303" cy="653841"/>
          </a:xfrm>
          <a:prstGeom prst="rect">
            <a:avLst/>
          </a:prstGeom>
          <a:noFill/>
        </p:spPr>
        <p:txBody>
          <a:bodyPr wrap="none" lIns="128459" tIns="64232" rIns="128459" bIns="64232" rtlCol="0">
            <a:spAutoFit/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875303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16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53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4006184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10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10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289211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0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742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5581" algn="l"/>
              </a:tabLst>
              <a:defRPr sz="1400" b="1">
                <a:solidFill>
                  <a:srgbClr val="FFFFFF"/>
                </a:solidFill>
              </a:defRPr>
            </a:lvl2pPr>
            <a:lvl3pPr marL="1287425" indent="-128742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algn="r" defTabSz="90521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866724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0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742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5581" algn="l"/>
              </a:tabLst>
              <a:defRPr sz="1400" b="1">
                <a:solidFill>
                  <a:srgbClr val="FFFFFF"/>
                </a:solidFill>
              </a:defRPr>
            </a:lvl2pPr>
            <a:lvl3pPr marL="1287425" indent="-128742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algn="r" defTabSz="90521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2344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56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2406749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20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76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802849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2799775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526319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764164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524045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7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7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2651492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722" tIns="64363" rIns="128722" bIns="64363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722" tIns="64363" rIns="128722" bIns="64363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0170" indent="-15646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7290" indent="-3307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243176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0" y="4421635"/>
            <a:ext cx="261834" cy="654106"/>
          </a:xfrm>
          <a:prstGeom prst="rect">
            <a:avLst/>
          </a:prstGeom>
          <a:noFill/>
        </p:spPr>
        <p:txBody>
          <a:bodyPr wrap="none" lIns="128722" tIns="64363" rIns="128722" bIns="64363" rtlCol="0">
            <a:spAutoFit/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4333317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477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0456564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0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0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3045313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85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371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8742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312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749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1870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62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061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498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0412"/>
            <a:ext cx="3034453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0412"/>
            <a:ext cx="4118187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0412"/>
            <a:ext cx="3034453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2849587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2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107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8315" algn="l"/>
              </a:tabLst>
              <a:defRPr sz="1400" b="1">
                <a:solidFill>
                  <a:srgbClr val="FFFFFF"/>
                </a:solidFill>
              </a:defRPr>
            </a:lvl2pPr>
            <a:lvl3pPr marL="1291073" indent="-129107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14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algn="r" defTabSz="129107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ea typeface="ヒラギノ角ゴ Pro W3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8568844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155641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2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107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8315" algn="l"/>
              </a:tabLst>
              <a:defRPr sz="1400" b="1">
                <a:solidFill>
                  <a:srgbClr val="FFFFFF"/>
                </a:solidFill>
              </a:defRPr>
            </a:lvl2pPr>
            <a:lvl3pPr marL="1291073" indent="-129107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14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algn="r" defTabSz="129107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/>
                <a:ea typeface="ヒラギノ角ゴ Pro W3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44995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9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algn="r"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JUNE 8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320270923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125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8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7442556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164986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algn="r"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MONTH XX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864064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3008244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9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9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1657937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093" tIns="64549" rIns="129093" bIns="64549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093" tIns="64549" rIns="129093" bIns="64549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1278" indent="-15690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8649" indent="-33173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344445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75" y="4421635"/>
            <a:ext cx="262583" cy="654480"/>
          </a:xfrm>
          <a:prstGeom prst="rect">
            <a:avLst/>
          </a:prstGeom>
          <a:noFill/>
        </p:spPr>
        <p:txBody>
          <a:bodyPr wrap="none" lIns="129093" tIns="64549" rIns="129093" bIns="64549" rtlCol="0">
            <a:spAutoFit/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367480256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99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507520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623"/>
            <a:ext cx="3034453" cy="519289"/>
          </a:xfrm>
          <a:prstGeom prst="rect">
            <a:avLst/>
          </a:prstGeom>
        </p:spPr>
        <p:txBody>
          <a:bodyPr vert="horz" wrap="square" lIns="122966" tIns="61553" rIns="122966" bIns="6155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168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7168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623"/>
            <a:ext cx="4118187" cy="519289"/>
          </a:xfrm>
          <a:prstGeom prst="rect">
            <a:avLst/>
          </a:prstGeom>
        </p:spPr>
        <p:txBody>
          <a:bodyPr lIns="122966" tIns="61553" rIns="122966" bIns="6155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7168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623"/>
            <a:ext cx="3034453" cy="519289"/>
          </a:xfrm>
          <a:prstGeom prst="rect">
            <a:avLst/>
          </a:prstGeom>
        </p:spPr>
        <p:txBody>
          <a:bodyPr vert="horz" wrap="square" lIns="122966" tIns="61553" rIns="122966" bIns="6155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168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716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62850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51425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8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8614" algn="l"/>
              </a:tabLst>
              <a:defRPr sz="2800" b="1"/>
            </a:lvl1pPr>
            <a:lvl2pPr marL="0" indent="0">
              <a:spcAft>
                <a:spcPts val="0"/>
              </a:spcAft>
              <a:buFontTx/>
              <a:buNone/>
              <a:tabLst>
                <a:tab pos="966474" algn="l"/>
              </a:tabLst>
              <a:defRPr sz="1400" b="1"/>
            </a:lvl2pPr>
            <a:lvl3pPr marL="1288614" indent="-1288614">
              <a:spcAft>
                <a:spcPts val="0"/>
              </a:spcAft>
              <a:buFontTx/>
              <a:buNone/>
              <a:tabLst/>
              <a:defRPr sz="1400" b="0"/>
            </a:lvl3pPr>
            <a:lvl4pPr marL="1288614" indent="-1288614">
              <a:spcAft>
                <a:spcPts val="0"/>
              </a:spcAft>
              <a:buFontTx/>
              <a:buNone/>
              <a:tabLst/>
              <a:defRPr sz="1400"/>
            </a:lvl4pPr>
            <a:lvl5pPr marL="1288614" indent="-1288614">
              <a:spcAft>
                <a:spcPts val="0"/>
              </a:spcAft>
              <a:buFontTx/>
              <a:buNone/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/>
          <a:lstStyle>
            <a:lvl1pPr>
              <a:defRPr sz="7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16751" y="332349"/>
            <a:ext cx="12788053" cy="112708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50240" y="1589477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6" name="Subtitle 8"/>
          <p:cNvSpPr txBox="1">
            <a:spLocks/>
          </p:cNvSpPr>
          <p:nvPr userDrawn="1"/>
        </p:nvSpPr>
        <p:spPr bwMode="auto">
          <a:xfrm>
            <a:off x="10747022" y="10462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843" tIns="64424" rIns="128843" bIns="64424" numCol="1" anchor="t" anchorCtr="0" compatLnSpc="1">
            <a:prstTxWarp prst="textNoShape">
              <a:avLst/>
            </a:prstTxWarp>
          </a:bodyPr>
          <a:lstStyle/>
          <a:p>
            <a:pPr algn="r" defTabSz="9060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7" name="Picture 6" descr="CCRC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931" y="130054"/>
            <a:ext cx="4479430" cy="15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438552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8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861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6474" algn="l"/>
              </a:tabLst>
              <a:defRPr sz="1400" b="1">
                <a:solidFill>
                  <a:srgbClr val="FFFFFF"/>
                </a:solidFill>
              </a:defRPr>
            </a:lvl2pPr>
            <a:lvl3pPr marL="1288614" indent="-128861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8614" indent="-12886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8614" indent="-12886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7"/>
            <a:ext cx="11704320" cy="245646"/>
          </a:xfrm>
          <a:prstGeom prst="rect">
            <a:avLst/>
          </a:prstGeom>
          <a:solidFill>
            <a:srgbClr val="A3B22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843" tIns="64424" rIns="128843" bIns="64424" numCol="1" anchor="t" anchorCtr="0" compatLnSpc="1">
            <a:prstTxWarp prst="textNoShape">
              <a:avLst/>
            </a:prstTxWarp>
          </a:bodyPr>
          <a:lstStyle/>
          <a:p>
            <a:pPr algn="r" defTabSz="9060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788516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34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557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82" y="412494"/>
            <a:ext cx="4132638" cy="284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843" tIns="64424" rIns="128843" bIns="64424">
            <a:prstTxWarp prst="textNoShape">
              <a:avLst/>
            </a:prstTxWarp>
            <a:spAutoFit/>
          </a:bodyPr>
          <a:lstStyle/>
          <a:p>
            <a:pPr algn="r" defTabSz="9060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7"/>
            <a:ext cx="4623929" cy="284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843" tIns="64424" rIns="128843" bIns="64424">
            <a:prstTxWarp prst="textNoShape">
              <a:avLst/>
            </a:prstTxWarp>
            <a:spAutoFit/>
          </a:bodyPr>
          <a:lstStyle/>
          <a:p>
            <a:pPr defTabSz="9060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93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843" tIns="64424" rIns="128843" bIns="64424" numCol="1" rtlCol="0" anchor="t" anchorCtr="0" compatLnSpc="1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3802314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8173"/>
            <a:ext cx="11704320" cy="5477369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557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82" y="412494"/>
            <a:ext cx="4132638" cy="284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843" tIns="64424" rIns="128843" bIns="64424">
            <a:prstTxWarp prst="textNoShape">
              <a:avLst/>
            </a:prstTxWarp>
            <a:spAutoFit/>
          </a:bodyPr>
          <a:lstStyle/>
          <a:p>
            <a:pPr algn="r" defTabSz="9060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plete College America GPS Meeting/ August 29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7"/>
            <a:ext cx="4623929" cy="284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843" tIns="64424" rIns="128843" bIns="64424">
            <a:prstTxWarp prst="textNoShape">
              <a:avLst/>
            </a:prstTxWarp>
            <a:spAutoFit/>
          </a:bodyPr>
          <a:lstStyle/>
          <a:p>
            <a:pPr defTabSz="9060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18163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531045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25" y="28477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55" y="28477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1181301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419" y="3384415"/>
            <a:ext cx="5660250" cy="544937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843" tIns="64424" rIns="128843" bIns="64424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81" y="3006458"/>
            <a:ext cx="5660250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843" tIns="64424" rIns="128843" bIns="64424">
            <a:prstTxWarp prst="textNoShape">
              <a:avLst/>
            </a:prstTxWarp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55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57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25" y="3435137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425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00534" indent="-15660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55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87743" indent="-3311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7120691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74" y="4421860"/>
            <a:ext cx="262079" cy="654229"/>
          </a:xfrm>
          <a:prstGeom prst="rect">
            <a:avLst/>
          </a:prstGeom>
          <a:noFill/>
        </p:spPr>
        <p:txBody>
          <a:bodyPr wrap="none" lIns="128843" tIns="64424" rIns="128843" bIns="64424" rtlCol="0">
            <a:spAutoFit/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904213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25" y="2830465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922" y="281817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54949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57746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9267777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922" y="313102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422" y="313102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9205144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3" y="2260"/>
          <a:ext cx="2257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3" y="2260"/>
                        <a:ext cx="2257" cy="22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9851" y="9103363"/>
            <a:ext cx="1819769" cy="46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196" y="345442"/>
            <a:ext cx="12433583" cy="525272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1965" y="8895234"/>
            <a:ext cx="12354560" cy="328294"/>
          </a:xfrm>
        </p:spPr>
        <p:txBody>
          <a:bodyPr lIns="128843" tIns="64424" rIns="128843" bIns="64424" anchor="b">
            <a:noAutofit/>
          </a:bodyPr>
          <a:lstStyle>
            <a:lvl1pPr>
              <a:defRPr sz="13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7240701" y="9234578"/>
            <a:ext cx="3034453" cy="259645"/>
          </a:xfrm>
          <a:prstGeom prst="rect">
            <a:avLst/>
          </a:prstGeom>
        </p:spPr>
        <p:txBody>
          <a:bodyPr lIns="128843" tIns="64424" rIns="128843" bIns="64424"/>
          <a:lstStyle>
            <a:lvl1pPr>
              <a:defRPr/>
            </a:lvl1pPr>
          </a:lstStyle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3400" kern="1200" smtClean="0">
                <a:latin typeface="Arial" charset="0"/>
                <a:ea typeface="ヒラギノ角ゴ Pro W3" charset="-128"/>
              </a:rPr>
              <a:pPr defTabSz="906058" eaLnBrk="0" fontAlgn="base">
                <a:spcBef>
                  <a:spcPct val="0"/>
                </a:spcBef>
                <a:spcAft>
                  <a:spcPct val="0"/>
                </a:spcAft>
              </a:pPr>
              <a:t>Monday, March 19, 2018</a:t>
            </a:fld>
            <a:endParaRPr lang="en-US" alt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2549" y="9234578"/>
            <a:ext cx="4118187" cy="259645"/>
          </a:xfrm>
          <a:prstGeom prst="rect">
            <a:avLst/>
          </a:prstGeom>
        </p:spPr>
        <p:txBody>
          <a:bodyPr lIns="128843" tIns="64424" rIns="128843" bIns="64424"/>
          <a:lstStyle>
            <a:lvl1pPr>
              <a:defRPr/>
            </a:lvl1pPr>
          </a:lstStyle>
          <a:p>
            <a:pPr defTabSz="906058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00" kern="1200">
                <a:latin typeface="Arial" charset="0"/>
                <a:ea typeface="ヒラギノ角ゴ Pro W3" charset="-128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5852160" y="9234578"/>
            <a:ext cx="1300480" cy="259645"/>
          </a:xfrm>
          <a:prstGeom prst="rect">
            <a:avLst/>
          </a:prstGeom>
        </p:spPr>
        <p:txBody>
          <a:bodyPr lIns="128843" tIns="64424" rIns="128843" bIns="64424"/>
          <a:lstStyle>
            <a:lvl1pPr>
              <a:defRPr/>
            </a:lvl1pPr>
          </a:lstStyle>
          <a:p>
            <a:pPr defTabSz="906058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3400" kern="1200" smtClean="0">
                <a:latin typeface="Arial" charset="0"/>
                <a:ea typeface="ヒラギノ角ゴ Pro W3" charset="-128"/>
              </a:rPr>
              <a:pPr defTabSz="906058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697356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 txBox="1">
            <a:spLocks noChangeArrowheads="1"/>
          </p:cNvSpPr>
          <p:nvPr userDrawn="1"/>
        </p:nvSpPr>
        <p:spPr bwMode="auto">
          <a:xfrm>
            <a:off x="12519382" y="9335938"/>
            <a:ext cx="284480" cy="22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06058" eaLnBrk="0">
              <a:defRPr/>
            </a:pPr>
            <a:fld id="{E5AA471D-48CF-844E-A69E-867CC4001CDB}" type="slidenum">
              <a:rPr lang="en-US" smtClean="0">
                <a:solidFill>
                  <a:srgbClr val="FFFFFF"/>
                </a:solidFill>
                <a:latin typeface="Tahoma" pitchFamily="34" charset="0"/>
                <a:ea typeface="ヒラギノ角ゴ Pro W3"/>
                <a:cs typeface="ヒラギノ角ゴ Pro W3"/>
              </a:rPr>
              <a:pPr defTabSz="906058" eaLnBrk="0"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Tahoma" pitchFamily="34" charset="0"/>
                <a:ea typeface="ヒラギノ角ゴ Pro W3"/>
                <a:cs typeface="ヒラギノ角ゴ Pro W3"/>
              </a:rPr>
              <a:t> 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232555" y="9335935"/>
            <a:ext cx="5969566" cy="221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06058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1200" dirty="0">
                <a:solidFill>
                  <a:srgbClr val="FFFFFF"/>
                </a:solidFill>
                <a:latin typeface="Tahoma" charset="0"/>
                <a:ea typeface="SimSun" charset="0"/>
              </a:rPr>
              <a:t>©2013 U.S. Education Delivery Instit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60025" y="526941"/>
            <a:ext cx="10619903" cy="4154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34"/>
              </a:spcBef>
              <a:spcAft>
                <a:spcPts val="0"/>
              </a:spcAft>
              <a:buNone/>
              <a:defRPr sz="2700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33034" y="2195431"/>
            <a:ext cx="6056266" cy="176971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 baseline="0">
                <a:latin typeface="Tahoma" pitchFamily="34" charset="0"/>
              </a:defRPr>
            </a:lvl1pPr>
            <a:lvl2pPr marL="255699" indent="-25569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300" baseline="0">
                <a:latin typeface="Tahoma" pitchFamily="34" charset="0"/>
              </a:defRPr>
            </a:lvl2pPr>
            <a:lvl3pPr marL="666557" indent="-41084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300" baseline="0">
                <a:latin typeface="Tahoma" pitchFamily="34" charset="0"/>
              </a:defRPr>
            </a:lvl3pPr>
            <a:lvl4pPr marL="901598" indent="-23507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300" baseline="0">
                <a:latin typeface="Tahoma" pitchFamily="34" charset="0"/>
              </a:defRPr>
            </a:lvl4pPr>
            <a:lvl5pPr marL="1059206" indent="-15749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3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623415" y="2195431"/>
            <a:ext cx="6056266" cy="176971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 baseline="0">
                <a:latin typeface="Tahoma" pitchFamily="34" charset="0"/>
              </a:defRPr>
            </a:lvl1pPr>
            <a:lvl2pPr marL="255699" indent="-25569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2300" baseline="0">
                <a:latin typeface="Tahoma" pitchFamily="34" charset="0"/>
              </a:defRPr>
            </a:lvl2pPr>
            <a:lvl3pPr marL="666557" indent="-41084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2300" baseline="0">
                <a:latin typeface="Tahoma" pitchFamily="34" charset="0"/>
              </a:defRPr>
            </a:lvl3pPr>
            <a:lvl4pPr marL="901598" indent="-23507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2300" baseline="0">
                <a:latin typeface="Tahoma" pitchFamily="34" charset="0"/>
              </a:defRPr>
            </a:lvl4pPr>
            <a:lvl5pPr marL="1059206" indent="-15749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23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28609" y="1630879"/>
            <a:ext cx="12451072" cy="3539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 baseline="0">
                <a:latin typeface="Tahoma" pitchFamily="34" charset="0"/>
              </a:defRPr>
            </a:lvl1pPr>
            <a:lvl2pPr marL="255699" indent="-255699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300" baseline="0">
                <a:latin typeface="Tahoma" pitchFamily="34" charset="0"/>
              </a:defRPr>
            </a:lvl2pPr>
            <a:lvl3pPr marL="666557" indent="-410842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300" baseline="0">
                <a:latin typeface="Tahoma" pitchFamily="34" charset="0"/>
              </a:defRPr>
            </a:lvl3pPr>
            <a:lvl4pPr marL="901598" indent="-235078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300" baseline="0">
                <a:latin typeface="Tahoma" pitchFamily="34" charset="0"/>
              </a:defRPr>
            </a:lvl4pPr>
            <a:lvl5pPr marL="1059206" indent="-157497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3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4910069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0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229" algn="l"/>
              </a:tabLst>
              <a:defRPr sz="1400" b="1">
                <a:solidFill>
                  <a:srgbClr val="FFFFFF"/>
                </a:solidFill>
              </a:defRPr>
            </a:lvl2pPr>
            <a:lvl3pPr marL="1267054" indent="-12670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6663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31529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0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229" algn="l"/>
              </a:tabLst>
              <a:defRPr sz="1400" b="1">
                <a:solidFill>
                  <a:srgbClr val="FFFFFF"/>
                </a:solidFill>
              </a:defRPr>
            </a:lvl2pPr>
            <a:lvl3pPr marL="1267054" indent="-12670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6663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071776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834291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9513895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7176270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3707" y="413129"/>
            <a:ext cx="5521623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4626468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129"/>
            <a:ext cx="5756430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6503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633"/>
            <a:ext cx="292608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633"/>
            <a:ext cx="438912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633"/>
            <a:ext cx="292608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3150690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15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15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002304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17" tIns="63309" rIns="126617" bIns="63309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17" tIns="63309" rIns="126617" bIns="63309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93853" indent="-15403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79591" indent="-3254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35457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1824"/>
            <a:ext cx="257582" cy="651977"/>
          </a:xfrm>
          <a:prstGeom prst="rect">
            <a:avLst/>
          </a:prstGeom>
          <a:noFill/>
        </p:spPr>
        <p:txBody>
          <a:bodyPr wrap="none" lIns="126617" tIns="63309" rIns="126617" bIns="63309" rtlCol="0">
            <a:spAutoFit/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0128223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22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56984828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4400751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203019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0855"/>
            <a:ext cx="3034453" cy="519289"/>
          </a:xfrm>
          <a:prstGeom prst="rect">
            <a:avLst/>
          </a:prstGeom>
        </p:spPr>
        <p:txBody>
          <a:bodyPr vert="horz" wrap="square" lIns="126597" tIns="63299" rIns="126597" bIns="6329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140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9140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0855"/>
            <a:ext cx="4118187" cy="519289"/>
          </a:xfrm>
          <a:prstGeom prst="rect">
            <a:avLst/>
          </a:prstGeom>
        </p:spPr>
        <p:txBody>
          <a:bodyPr lIns="126597" tIns="63299" rIns="126597" bIns="6329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9140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0855"/>
            <a:ext cx="3034453" cy="519289"/>
          </a:xfrm>
          <a:prstGeom prst="rect">
            <a:avLst/>
          </a:prstGeom>
        </p:spPr>
        <p:txBody>
          <a:bodyPr vert="horz" wrap="square" lIns="126597" tIns="63299" rIns="126597" bIns="6329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140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9140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894816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848808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0867"/>
            <a:ext cx="292608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0867"/>
            <a:ext cx="438912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0867"/>
            <a:ext cx="292608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1060175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519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8826" algn="l"/>
              </a:tabLst>
              <a:defRPr sz="1400" b="1">
                <a:solidFill>
                  <a:srgbClr val="FFFFFF"/>
                </a:solidFill>
              </a:defRPr>
            </a:lvl2pPr>
            <a:lvl3pPr marL="1265198" indent="-126519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6704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0451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0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535" algn="l"/>
              </a:tabLst>
              <a:defRPr sz="1400" b="1">
                <a:solidFill>
                  <a:srgbClr val="FFFFFF"/>
                </a:solidFill>
              </a:defRPr>
            </a:lvl2pPr>
            <a:lvl3pPr marL="1234030" indent="-12340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396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118246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519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8826" algn="l"/>
              </a:tabLst>
              <a:defRPr sz="1400" b="1">
                <a:solidFill>
                  <a:srgbClr val="FFFFFF"/>
                </a:solidFill>
              </a:defRPr>
            </a:lvl2pPr>
            <a:lvl3pPr marL="1265198" indent="-126519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6704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02129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5539183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330127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906006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3748" y="412978"/>
            <a:ext cx="5521623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2464462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978"/>
            <a:ext cx="5756430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7311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16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16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4926180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422" tIns="63211" rIns="126422" bIns="6321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422" tIns="63211" rIns="126422" bIns="6321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93272" indent="-15380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78880" indent="-3250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31263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7" y="4421636"/>
            <a:ext cx="257185" cy="651779"/>
          </a:xfrm>
          <a:prstGeom prst="rect">
            <a:avLst/>
          </a:prstGeom>
          <a:noFill/>
        </p:spPr>
        <p:txBody>
          <a:bodyPr wrap="none" lIns="126422" tIns="63211" rIns="126422" bIns="63211" rtlCol="0">
            <a:spAutoFit/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4844586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35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47570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0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535" algn="l"/>
              </a:tabLst>
              <a:defRPr sz="1400" b="1">
                <a:solidFill>
                  <a:srgbClr val="FFFFFF"/>
                </a:solidFill>
              </a:defRPr>
            </a:lvl2pPr>
            <a:lvl3pPr marL="1234030" indent="-12340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396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686576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2726218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2188575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0897"/>
            <a:ext cx="3034453" cy="519289"/>
          </a:xfrm>
          <a:prstGeom prst="rect">
            <a:avLst/>
          </a:prstGeom>
        </p:spPr>
        <p:txBody>
          <a:bodyPr vert="horz" wrap="square" lIns="126401" tIns="63201" rIns="126401" bIns="6320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008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9008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0897"/>
            <a:ext cx="4118187" cy="519289"/>
          </a:xfrm>
          <a:prstGeom prst="rect">
            <a:avLst/>
          </a:prstGeom>
        </p:spPr>
        <p:txBody>
          <a:bodyPr lIns="126401" tIns="63201" rIns="126401" bIns="63201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9008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0897"/>
            <a:ext cx="3034453" cy="519289"/>
          </a:xfrm>
          <a:prstGeom prst="rect">
            <a:avLst/>
          </a:prstGeom>
        </p:spPr>
        <p:txBody>
          <a:bodyPr vert="horz" wrap="square" lIns="126401" tIns="63201" rIns="126401" bIns="6320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008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9008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774822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6721304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0909"/>
            <a:ext cx="292608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0909"/>
            <a:ext cx="438912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0909"/>
            <a:ext cx="292608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5008866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9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38" algn="l"/>
              </a:tabLst>
              <a:defRPr sz="1400" b="1">
                <a:solidFill>
                  <a:srgbClr val="FFFFFF"/>
                </a:solidFill>
              </a:defRPr>
            </a:lvl2pPr>
            <a:lvl3pPr marL="1273931" indent="-12739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6546699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9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38" algn="l"/>
              </a:tabLst>
              <a:defRPr sz="1400" b="1">
                <a:solidFill>
                  <a:srgbClr val="FFFFFF"/>
                </a:solidFill>
              </a:defRPr>
            </a:lvl2pPr>
            <a:lvl3pPr marL="1273931" indent="-12739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86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58522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6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9179084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45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5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569230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55484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4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9446150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619001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776070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03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03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342693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007" indent="-1548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2223" indent="-32729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5506452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825"/>
            <a:ext cx="259036" cy="652705"/>
          </a:xfrm>
          <a:prstGeom prst="rect">
            <a:avLst/>
          </a:prstGeom>
          <a:noFill/>
        </p:spPr>
        <p:txBody>
          <a:bodyPr wrap="none" lIns="127338" tIns="63669" rIns="127338" bIns="63669" rtlCol="0">
            <a:spAutoFit/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2527524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7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2418997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560917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13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16" algn="l"/>
              </a:tabLst>
              <a:defRPr sz="1400" b="1">
                <a:solidFill>
                  <a:srgbClr val="FFFFFF"/>
                </a:solidFill>
              </a:defRPr>
            </a:lvl2pPr>
            <a:lvl3pPr marL="1294139" indent="-129413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algn="r" defTabSz="9099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234360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13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16" algn="l"/>
              </a:tabLst>
              <a:defRPr sz="1400" b="1">
                <a:solidFill>
                  <a:srgbClr val="FFFFFF"/>
                </a:solidFill>
              </a:defRPr>
            </a:lvl2pPr>
            <a:lvl3pPr marL="1294139" indent="-129413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algn="r" defTabSz="9099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71806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3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6006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4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7423515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6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2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549287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674623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492613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702321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4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4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2691962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06" tIns="64703" rIns="129406" bIns="64703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06" tIns="64703" rIns="129406" bIns="64703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218" indent="-15727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9803" indent="-33252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2434003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406" tIns="64703" rIns="129406" bIns="64703" rtlCol="0">
            <a:spAutoFit/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55072608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38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26816019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1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1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616648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727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28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70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413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12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883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3540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246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2953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765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278"/>
            <a:ext cx="3034453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278"/>
            <a:ext cx="4118187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278"/>
            <a:ext cx="3034453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98764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206874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 baseline="-250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February 5, 2016</a:t>
            </a: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1960" algn="l"/>
              </a:tabLst>
              <a:defRPr sz="1400" b="1">
                <a:solidFill>
                  <a:srgbClr val="FFFFFF"/>
                </a:solidFill>
              </a:defRPr>
            </a:lvl2pPr>
            <a:lvl3pPr marL="1295934" indent="-129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7587923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45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1960" algn="l"/>
              </a:tabLst>
              <a:defRPr sz="1400" b="1">
                <a:solidFill>
                  <a:srgbClr val="FFFFFF"/>
                </a:solidFill>
              </a:defRPr>
            </a:lvl2pPr>
            <a:lvl3pPr marL="1295934" indent="-129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970352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9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4725390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7" y="1068026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9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325811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565679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MONTH XX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6735514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4193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0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0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6653672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763" indent="-1574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0478" indent="-33298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304381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371" y="4420760"/>
            <a:ext cx="261772" cy="500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7154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41" y="413859"/>
            <a:ext cx="5521623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325040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67930"/>
            <a:ext cx="11704321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0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82710162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8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8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3861016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8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89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7944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59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39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188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3986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783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357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837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240"/>
            <a:ext cx="3034453" cy="519289"/>
          </a:xfrm>
          <a:prstGeom prst="rect">
            <a:avLst/>
          </a:prstGeom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fld id="{7840AC4E-5910-40CE-8437-79371BF431A6}" type="datetimeFigureOut">
              <a:rPr lang="en-US" kern="1200" smtClean="0">
                <a:latin typeface="Arial" pitchFamily="34" charset="0"/>
                <a:cs typeface="ヒラギノ角ゴ Pro W3" charset="-128"/>
              </a:rPr>
              <a:pPr defTabSz="91125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US" kern="1200">
              <a:latin typeface="Arial" pitchFamily="34" charset="0"/>
              <a:cs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240"/>
            <a:ext cx="4118187" cy="519289"/>
          </a:xfrm>
          <a:prstGeom prst="rect">
            <a:avLst/>
          </a:prstGeom>
        </p:spPr>
        <p:txBody>
          <a:bodyPr lIns="129588" tIns="64794" rIns="129588" bIns="64794"/>
          <a:lstStyle>
            <a:lvl1pPr>
              <a:defRPr sz="340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240"/>
            <a:ext cx="3034453" cy="519289"/>
          </a:xfrm>
          <a:prstGeom prst="rect">
            <a:avLst/>
          </a:prstGeom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fld id="{4ED17AD6-A8D9-4DF1-805D-0C1778C8E38B}" type="slidenum">
              <a:rPr lang="en-US" kern="1200" smtClean="0">
                <a:latin typeface="Arial" pitchFamily="34" charset="0"/>
                <a:cs typeface="ヒラギノ角ゴ Pro W3" charset="-128"/>
              </a:rPr>
              <a:pPr defTabSz="91125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latin typeface="Arial" pitchFamily="34" charset="0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01279216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9917422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7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845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3851" algn="l"/>
              </a:tabLst>
              <a:defRPr sz="1400" b="1">
                <a:solidFill>
                  <a:srgbClr val="FFFFFF"/>
                </a:solidFill>
              </a:defRPr>
            </a:lvl2pPr>
            <a:lvl3pPr marL="1298459" indent="-129845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9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algn="r" defTabSz="91299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99025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7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845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3851" algn="l"/>
              </a:tabLst>
              <a:defRPr sz="1400" b="1">
                <a:solidFill>
                  <a:srgbClr val="FFFFFF"/>
                </a:solidFill>
              </a:defRPr>
            </a:lvl2pPr>
            <a:lvl3pPr marL="1298459" indent="-129845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9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algn="r" defTabSz="91299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32433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4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4012795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797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3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833629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6283749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9083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859"/>
            <a:ext cx="5756430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6032678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6009297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5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5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026777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844" tIns="64922" rIns="129844" bIns="64922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844" tIns="64922" rIns="129844" bIns="64922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3531" indent="-15779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1431" indent="-3336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7046676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844" tIns="64922" rIns="129844" bIns="64922" rtlCol="0">
            <a:spAutoFit/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2912292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4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3129270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365012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3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35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922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845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770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69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615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953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446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938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186"/>
            <a:ext cx="4118187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12335529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8" y="9040186"/>
            <a:ext cx="4118187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3756405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1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605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2048" algn="l"/>
              </a:tabLst>
              <a:defRPr sz="1400" b="1">
                <a:solidFill>
                  <a:srgbClr val="FFFFFF"/>
                </a:solidFill>
              </a:defRPr>
            </a:lvl2pPr>
            <a:lvl3pPr marL="1296057" indent="-129605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3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algn="r" defTabSz="9112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7956080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1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605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2048" algn="l"/>
              </a:tabLst>
              <a:defRPr sz="1400" b="1">
                <a:solidFill>
                  <a:srgbClr val="FFFFFF"/>
                </a:solidFill>
              </a:defRPr>
            </a:lvl2pPr>
            <a:lvl3pPr marL="1296057" indent="-129605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3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algn="r" defTabSz="9112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2982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4822257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8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1843608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1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7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3582172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8839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042174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8229322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8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9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9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267807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598" tIns="64801" rIns="129598" bIns="6480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598" tIns="64801" rIns="129598" bIns="6480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7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794" indent="-15750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0520" indent="-33301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2119868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68" y="4421635"/>
            <a:ext cx="262583" cy="654480"/>
          </a:xfrm>
          <a:prstGeom prst="rect">
            <a:avLst/>
          </a:prstGeom>
          <a:noFill/>
        </p:spPr>
        <p:txBody>
          <a:bodyPr wrap="none" lIns="129598" tIns="64801" rIns="129598" bIns="64801" rtlCol="0">
            <a:spAutoFit/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1780361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8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92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3305564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6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6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11829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95896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41" tIns="61632" rIns="123141" bIns="61632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41" tIns="61632" rIns="123141" bIns="61632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580" indent="-15021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7097" indent="-3168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729314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76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75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800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60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40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2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01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81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362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842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0227"/>
            <a:ext cx="3034453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0227"/>
            <a:ext cx="4118187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0227"/>
            <a:ext cx="3034453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3217330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5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959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4698" algn="l"/>
              </a:tabLst>
              <a:defRPr sz="1400" b="1">
                <a:solidFill>
                  <a:srgbClr val="FFFFFF"/>
                </a:solidFill>
              </a:defRPr>
            </a:lvl2pPr>
            <a:lvl3pPr marL="1299592" indent="-129959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6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algn="r" defTabSz="9137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0044561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5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959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4698" algn="l"/>
              </a:tabLst>
              <a:defRPr sz="1400" b="1">
                <a:solidFill>
                  <a:srgbClr val="FFFFFF"/>
                </a:solidFill>
              </a:defRPr>
            </a:lvl2pPr>
            <a:lvl3pPr marL="1299592" indent="-129959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6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algn="r" defTabSz="9137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61615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1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582812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794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1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414590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163428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792006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872575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2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2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6419440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958" tIns="64980" rIns="129958" bIns="64980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958" tIns="64980" rIns="129958" bIns="64980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3875" indent="-1579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1861" indent="-3339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22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1" y="4421635"/>
            <a:ext cx="248887" cy="647748"/>
          </a:xfrm>
          <a:prstGeom prst="rect">
            <a:avLst/>
          </a:prstGeom>
          <a:noFill/>
        </p:spPr>
        <p:txBody>
          <a:bodyPr wrap="none" lIns="123141" tIns="61632" rIns="123141" bIns="61632" rtlCol="0">
            <a:spAutoFit/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405433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958" tIns="64980" rIns="129958" bIns="64980" rtlCol="0">
            <a:spAutoFit/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30296117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2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58951140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0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0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90209413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1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11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9793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959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93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91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89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9878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485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9838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61"/>
            <a:ext cx="3034453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161"/>
            <a:ext cx="4118187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61"/>
            <a:ext cx="3034453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2862595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3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30046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5345" algn="l"/>
              </a:tabLst>
              <a:defRPr sz="1400" b="1">
                <a:solidFill>
                  <a:srgbClr val="FFFFFF"/>
                </a:solidFill>
              </a:defRPr>
            </a:lvl2pPr>
            <a:lvl3pPr marL="1300460" indent="-130046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3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5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algn="r" defTabSz="91440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2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210130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3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30046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5345" algn="l"/>
              </a:tabLst>
              <a:defRPr sz="1400" b="1">
                <a:solidFill>
                  <a:srgbClr val="FFFFFF"/>
                </a:solidFill>
              </a:defRPr>
            </a:lvl2pPr>
            <a:lvl3pPr marL="1300460" indent="-130046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3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5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algn="r" defTabSz="91440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7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5641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29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72143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6" y="106792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49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791575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79015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9781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86980641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5473728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284750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0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204195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09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30046" tIns="65023" rIns="130046" bIns="65023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30046" tIns="65023" rIns="130046" bIns="65023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4" y="3006458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4137" indent="-15804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8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2188" indent="-33414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4756579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3"/>
            <a:ext cx="262636" cy="656590"/>
          </a:xfrm>
          <a:prstGeom prst="rect">
            <a:avLst/>
          </a:prstGeom>
          <a:noFill/>
        </p:spPr>
        <p:txBody>
          <a:bodyPr wrap="none" lIns="130046" tIns="65023" rIns="130046" bIns="65023" rtlCol="0">
            <a:spAutoFit/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6497657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283020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956363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7" y="313078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3" y="313078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0181521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592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3993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5023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046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06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09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114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13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16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018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87399503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1619101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1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95589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399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84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61024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27390122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399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39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3869024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9963404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30356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75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0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6368443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75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0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2358467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4956119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4536072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7711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39241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8461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9177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55698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19620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83544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47472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11390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285866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73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0505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241" indent="0">
              <a:buNone/>
              <a:defRPr sz="2800" b="1"/>
            </a:lvl2pPr>
            <a:lvl3pPr marL="1278461" indent="0">
              <a:buNone/>
              <a:defRPr sz="2600" b="1"/>
            </a:lvl3pPr>
            <a:lvl4pPr marL="1917757" indent="0">
              <a:buNone/>
              <a:defRPr sz="2300" b="1"/>
            </a:lvl4pPr>
            <a:lvl5pPr marL="2556986" indent="0">
              <a:buNone/>
              <a:defRPr sz="2300" b="1"/>
            </a:lvl5pPr>
            <a:lvl6pPr marL="3196204" indent="0">
              <a:buNone/>
              <a:defRPr sz="2300" b="1"/>
            </a:lvl6pPr>
            <a:lvl7pPr marL="3835447" indent="0">
              <a:buNone/>
              <a:defRPr sz="2300" b="1"/>
            </a:lvl7pPr>
            <a:lvl8pPr marL="4474725" indent="0">
              <a:buNone/>
              <a:defRPr sz="2300" b="1"/>
            </a:lvl8pPr>
            <a:lvl9pPr marL="5113908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241" indent="0">
              <a:buNone/>
              <a:defRPr sz="2800" b="1"/>
            </a:lvl2pPr>
            <a:lvl3pPr marL="1278461" indent="0">
              <a:buNone/>
              <a:defRPr sz="2600" b="1"/>
            </a:lvl3pPr>
            <a:lvl4pPr marL="1917757" indent="0">
              <a:buNone/>
              <a:defRPr sz="2300" b="1"/>
            </a:lvl4pPr>
            <a:lvl5pPr marL="2556986" indent="0">
              <a:buNone/>
              <a:defRPr sz="2300" b="1"/>
            </a:lvl5pPr>
            <a:lvl6pPr marL="3196204" indent="0">
              <a:buNone/>
              <a:defRPr sz="2300" b="1"/>
            </a:lvl6pPr>
            <a:lvl7pPr marL="3835447" indent="0">
              <a:buNone/>
              <a:defRPr sz="2300" b="1"/>
            </a:lvl7pPr>
            <a:lvl8pPr marL="4474725" indent="0">
              <a:buNone/>
              <a:defRPr sz="2300" b="1"/>
            </a:lvl8pPr>
            <a:lvl9pPr marL="5113908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478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80584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099984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31789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776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776" y="2926080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39241" indent="0">
              <a:buNone/>
              <a:defRPr sz="2000"/>
            </a:lvl2pPr>
            <a:lvl3pPr marL="1278461" indent="0">
              <a:buNone/>
              <a:defRPr sz="1700"/>
            </a:lvl3pPr>
            <a:lvl4pPr marL="1917757" indent="0">
              <a:buNone/>
              <a:defRPr sz="1400"/>
            </a:lvl4pPr>
            <a:lvl5pPr marL="2556986" indent="0">
              <a:buNone/>
              <a:defRPr sz="1400"/>
            </a:lvl5pPr>
            <a:lvl6pPr marL="3196204" indent="0">
              <a:buNone/>
              <a:defRPr sz="1400"/>
            </a:lvl6pPr>
            <a:lvl7pPr marL="3835447" indent="0">
              <a:buNone/>
              <a:defRPr sz="1400"/>
            </a:lvl7pPr>
            <a:lvl8pPr marL="4474725" indent="0">
              <a:buNone/>
              <a:defRPr sz="1400"/>
            </a:lvl8pPr>
            <a:lvl9pPr marL="511390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32088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776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39241" indent="0">
              <a:buNone/>
              <a:defRPr sz="4000"/>
            </a:lvl2pPr>
            <a:lvl3pPr marL="1278461" indent="0">
              <a:buNone/>
              <a:defRPr sz="3400"/>
            </a:lvl3pPr>
            <a:lvl4pPr marL="1917757" indent="0">
              <a:buNone/>
              <a:defRPr sz="2800"/>
            </a:lvl4pPr>
            <a:lvl5pPr marL="2556986" indent="0">
              <a:buNone/>
              <a:defRPr sz="2800"/>
            </a:lvl5pPr>
            <a:lvl6pPr marL="3196204" indent="0">
              <a:buNone/>
              <a:defRPr sz="2800"/>
            </a:lvl6pPr>
            <a:lvl7pPr marL="3835447" indent="0">
              <a:buNone/>
              <a:defRPr sz="2800"/>
            </a:lvl7pPr>
            <a:lvl8pPr marL="4474725" indent="0">
              <a:buNone/>
              <a:defRPr sz="2800"/>
            </a:lvl8pPr>
            <a:lvl9pPr marL="5113908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776" y="2926080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39241" indent="0">
              <a:buNone/>
              <a:defRPr sz="2000"/>
            </a:lvl2pPr>
            <a:lvl3pPr marL="1278461" indent="0">
              <a:buNone/>
              <a:defRPr sz="1700"/>
            </a:lvl3pPr>
            <a:lvl4pPr marL="1917757" indent="0">
              <a:buNone/>
              <a:defRPr sz="1400"/>
            </a:lvl4pPr>
            <a:lvl5pPr marL="2556986" indent="0">
              <a:buNone/>
              <a:defRPr sz="1400"/>
            </a:lvl5pPr>
            <a:lvl6pPr marL="3196204" indent="0">
              <a:buNone/>
              <a:defRPr sz="1400"/>
            </a:lvl6pPr>
            <a:lvl7pPr marL="3835447" indent="0">
              <a:buNone/>
              <a:defRPr sz="1400"/>
            </a:lvl7pPr>
            <a:lvl8pPr marL="4474725" indent="0">
              <a:buNone/>
              <a:defRPr sz="1400"/>
            </a:lvl8pPr>
            <a:lvl9pPr marL="511390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275779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66759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89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4370" y="519289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331573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5360" y="3029950"/>
            <a:ext cx="11054080" cy="20907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87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2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5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3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793067" cy="9753600"/>
          </a:xfrm>
          <a:prstGeom prst="rect">
            <a:avLst/>
          </a:prstGeom>
          <a:solidFill>
            <a:srgbClr val="1D8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40"/>
            <a:endParaRPr lang="en-US" sz="1920" dirty="0">
              <a:solidFill>
                <a:prstClr val="white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55578872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3004800" cy="325120"/>
          </a:xfrm>
          <a:prstGeom prst="rect">
            <a:avLst/>
          </a:prstGeom>
          <a:solidFill>
            <a:srgbClr val="1D8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40"/>
            <a:endParaRPr lang="en-US" sz="1920" dirty="0">
              <a:solidFill>
                <a:prstClr val="white"/>
              </a:solidFill>
              <a:sym typeface="Helvetica"/>
            </a:endParaRPr>
          </a:p>
        </p:txBody>
      </p:sp>
      <p:sp>
        <p:nvSpPr>
          <p:cNvPr id="8" name="Rectangle 7"/>
          <p:cNvSpPr/>
          <p:nvPr userDrawn="1"/>
        </p:nvSpPr>
        <p:spPr>
          <a:xfrm flipV="1">
            <a:off x="0" y="9536864"/>
            <a:ext cx="13004800" cy="281766"/>
          </a:xfrm>
          <a:prstGeom prst="rect">
            <a:avLst/>
          </a:prstGeom>
          <a:solidFill>
            <a:srgbClr val="1D8ED0"/>
          </a:solidFill>
          <a:ln>
            <a:solidFill>
              <a:srgbClr val="1D8E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40"/>
            <a:endParaRPr lang="en-US" sz="1920" dirty="0">
              <a:solidFill>
                <a:prstClr val="white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3038109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03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3994"/>
            <a:ext cx="11054080" cy="2133599"/>
          </a:xfrm>
        </p:spPr>
        <p:txBody>
          <a:bodyPr anchor="b"/>
          <a:lstStyle>
            <a:lvl1pPr marL="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1pPr>
            <a:lvl2pPr marL="487647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2pPr>
            <a:lvl3pPr marL="975291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3pPr>
            <a:lvl4pPr marL="1462937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4pPr>
            <a:lvl5pPr marL="1950584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5pPr>
            <a:lvl6pPr marL="2438230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6pPr>
            <a:lvl7pPr marL="2925874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7pPr>
            <a:lvl8pPr marL="3413522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8pPr>
            <a:lvl9pPr marL="3901169" indent="0">
              <a:buNone/>
              <a:defRPr sz="149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3004800" cy="4118187"/>
          </a:xfrm>
          <a:prstGeom prst="rect">
            <a:avLst/>
          </a:prstGeom>
          <a:solidFill>
            <a:srgbClr val="1D8ED0"/>
          </a:solidFill>
          <a:ln>
            <a:solidFill>
              <a:srgbClr val="0078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40"/>
            <a:endParaRPr lang="en-US" sz="1920">
              <a:solidFill>
                <a:prstClr val="white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67478628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240" y="2275851"/>
            <a:ext cx="5743787" cy="6436925"/>
          </a:xfrm>
        </p:spPr>
        <p:txBody>
          <a:bodyPr/>
          <a:lstStyle>
            <a:lvl1pPr>
              <a:defRPr sz="2987"/>
            </a:lvl1pPr>
            <a:lvl2pPr>
              <a:defRPr sz="2560"/>
            </a:lvl2pPr>
            <a:lvl3pPr>
              <a:defRPr sz="2133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73" y="2275851"/>
            <a:ext cx="5743787" cy="6436925"/>
          </a:xfrm>
        </p:spPr>
        <p:txBody>
          <a:bodyPr/>
          <a:lstStyle>
            <a:lvl1pPr>
              <a:defRPr sz="2987"/>
            </a:lvl1pPr>
            <a:lvl2pPr>
              <a:defRPr sz="2560"/>
            </a:lvl2pPr>
            <a:lvl3pPr>
              <a:defRPr sz="2133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9018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589"/>
            <a:ext cx="3034453" cy="519289"/>
          </a:xfrm>
          <a:prstGeom prst="rect">
            <a:avLst/>
          </a:prstGeom>
        </p:spPr>
        <p:txBody>
          <a:bodyPr vert="horz" wrap="square" lIns="123121" tIns="61623" rIns="123121" bIns="6162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700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770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589"/>
            <a:ext cx="4118187" cy="519289"/>
          </a:xfrm>
          <a:prstGeom prst="rect">
            <a:avLst/>
          </a:prstGeom>
        </p:spPr>
        <p:txBody>
          <a:bodyPr lIns="123121" tIns="61623" rIns="123121" bIns="6162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7700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589"/>
            <a:ext cx="3034453" cy="519289"/>
          </a:xfrm>
          <a:prstGeom prst="rect">
            <a:avLst/>
          </a:prstGeom>
        </p:spPr>
        <p:txBody>
          <a:bodyPr vert="horz" wrap="square" lIns="123121" tIns="61623" rIns="123121" bIns="6162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700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77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298245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183272"/>
            <a:ext cx="574604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47" indent="0">
              <a:buNone/>
              <a:defRPr sz="2133" b="1"/>
            </a:lvl2pPr>
            <a:lvl3pPr marL="975291" indent="0">
              <a:buNone/>
              <a:defRPr sz="1920" b="1"/>
            </a:lvl3pPr>
            <a:lvl4pPr marL="1462937" indent="0">
              <a:buNone/>
              <a:defRPr sz="1707" b="1"/>
            </a:lvl4pPr>
            <a:lvl5pPr marL="1950584" indent="0">
              <a:buNone/>
              <a:defRPr sz="1707" b="1"/>
            </a:lvl5pPr>
            <a:lvl6pPr marL="2438230" indent="0">
              <a:buNone/>
              <a:defRPr sz="1707" b="1"/>
            </a:lvl6pPr>
            <a:lvl7pPr marL="2925874" indent="0">
              <a:buNone/>
              <a:defRPr sz="1707" b="1"/>
            </a:lvl7pPr>
            <a:lvl8pPr marL="3413522" indent="0">
              <a:buNone/>
              <a:defRPr sz="1707" b="1"/>
            </a:lvl8pPr>
            <a:lvl9pPr marL="3901169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240" y="3093155"/>
            <a:ext cx="574604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06264" y="2183272"/>
            <a:ext cx="574830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47" indent="0">
              <a:buNone/>
              <a:defRPr sz="2133" b="1"/>
            </a:lvl2pPr>
            <a:lvl3pPr marL="975291" indent="0">
              <a:buNone/>
              <a:defRPr sz="1920" b="1"/>
            </a:lvl3pPr>
            <a:lvl4pPr marL="1462937" indent="0">
              <a:buNone/>
              <a:defRPr sz="1707" b="1"/>
            </a:lvl4pPr>
            <a:lvl5pPr marL="1950584" indent="0">
              <a:buNone/>
              <a:defRPr sz="1707" b="1"/>
            </a:lvl5pPr>
            <a:lvl6pPr marL="2438230" indent="0">
              <a:buNone/>
              <a:defRPr sz="1707" b="1"/>
            </a:lvl6pPr>
            <a:lvl7pPr marL="2925874" indent="0">
              <a:buNone/>
              <a:defRPr sz="1707" b="1"/>
            </a:lvl7pPr>
            <a:lvl8pPr marL="3413522" indent="0">
              <a:buNone/>
              <a:defRPr sz="1707" b="1"/>
            </a:lvl8pPr>
            <a:lvl9pPr marL="3901169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6264" y="3093155"/>
            <a:ext cx="574830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936156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855411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769730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243" y="388338"/>
            <a:ext cx="4278490" cy="1652693"/>
          </a:xfrm>
        </p:spPr>
        <p:txBody>
          <a:bodyPr anchor="b"/>
          <a:lstStyle>
            <a:lvl1pPr algn="l">
              <a:defRPr sz="21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4517" y="388350"/>
            <a:ext cx="7270044" cy="8324427"/>
          </a:xfrm>
        </p:spPr>
        <p:txBody>
          <a:bodyPr/>
          <a:lstStyle>
            <a:lvl1pPr>
              <a:defRPr sz="3413"/>
            </a:lvl1pPr>
            <a:lvl2pPr>
              <a:defRPr sz="2987"/>
            </a:lvl2pPr>
            <a:lvl3pPr>
              <a:defRPr sz="256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0243" y="2041036"/>
            <a:ext cx="4278490" cy="6671734"/>
          </a:xfrm>
        </p:spPr>
        <p:txBody>
          <a:bodyPr/>
          <a:lstStyle>
            <a:lvl1pPr marL="0" indent="0">
              <a:buNone/>
              <a:defRPr sz="1493"/>
            </a:lvl1pPr>
            <a:lvl2pPr marL="487647" indent="0">
              <a:buNone/>
              <a:defRPr sz="1280"/>
            </a:lvl2pPr>
            <a:lvl3pPr marL="975291" indent="0">
              <a:buNone/>
              <a:defRPr sz="1067"/>
            </a:lvl3pPr>
            <a:lvl4pPr marL="1462937" indent="0">
              <a:buNone/>
              <a:defRPr sz="960"/>
            </a:lvl4pPr>
            <a:lvl5pPr marL="1950584" indent="0">
              <a:buNone/>
              <a:defRPr sz="960"/>
            </a:lvl5pPr>
            <a:lvl6pPr marL="2438230" indent="0">
              <a:buNone/>
              <a:defRPr sz="960"/>
            </a:lvl6pPr>
            <a:lvl7pPr marL="2925874" indent="0">
              <a:buNone/>
              <a:defRPr sz="960"/>
            </a:lvl7pPr>
            <a:lvl8pPr marL="3413522" indent="0">
              <a:buNone/>
              <a:defRPr sz="960"/>
            </a:lvl8pPr>
            <a:lvl9pPr marL="3901169" indent="0">
              <a:buNone/>
              <a:defRPr sz="9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020054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9030" y="6827520"/>
            <a:ext cx="7802880" cy="806027"/>
          </a:xfrm>
        </p:spPr>
        <p:txBody>
          <a:bodyPr anchor="b"/>
          <a:lstStyle>
            <a:lvl1pPr algn="l">
              <a:defRPr sz="21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49030" y="871502"/>
            <a:ext cx="7802880" cy="5852160"/>
          </a:xfrm>
        </p:spPr>
        <p:txBody>
          <a:bodyPr/>
          <a:lstStyle>
            <a:lvl1pPr marL="0" indent="0">
              <a:buNone/>
              <a:defRPr sz="3413"/>
            </a:lvl1pPr>
            <a:lvl2pPr marL="487647" indent="0">
              <a:buNone/>
              <a:defRPr sz="2987"/>
            </a:lvl2pPr>
            <a:lvl3pPr marL="975291" indent="0">
              <a:buNone/>
              <a:defRPr sz="2560"/>
            </a:lvl3pPr>
            <a:lvl4pPr marL="1462937" indent="0">
              <a:buNone/>
              <a:defRPr sz="2133"/>
            </a:lvl4pPr>
            <a:lvl5pPr marL="1950584" indent="0">
              <a:buNone/>
              <a:defRPr sz="2133"/>
            </a:lvl5pPr>
            <a:lvl6pPr marL="2438230" indent="0">
              <a:buNone/>
              <a:defRPr sz="2133"/>
            </a:lvl6pPr>
            <a:lvl7pPr marL="2925874" indent="0">
              <a:buNone/>
              <a:defRPr sz="2133"/>
            </a:lvl7pPr>
            <a:lvl8pPr marL="3413522" indent="0">
              <a:buNone/>
              <a:defRPr sz="2133"/>
            </a:lvl8pPr>
            <a:lvl9pPr marL="3901169" indent="0">
              <a:buNone/>
              <a:defRPr sz="21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49030" y="7633547"/>
            <a:ext cx="7802880" cy="1144693"/>
          </a:xfrm>
        </p:spPr>
        <p:txBody>
          <a:bodyPr/>
          <a:lstStyle>
            <a:lvl1pPr marL="0" indent="0">
              <a:buNone/>
              <a:defRPr sz="1493"/>
            </a:lvl1pPr>
            <a:lvl2pPr marL="487647" indent="0">
              <a:buNone/>
              <a:defRPr sz="1280"/>
            </a:lvl2pPr>
            <a:lvl3pPr marL="975291" indent="0">
              <a:buNone/>
              <a:defRPr sz="1067"/>
            </a:lvl3pPr>
            <a:lvl4pPr marL="1462937" indent="0">
              <a:buNone/>
              <a:defRPr sz="960"/>
            </a:lvl4pPr>
            <a:lvl5pPr marL="1950584" indent="0">
              <a:buNone/>
              <a:defRPr sz="960"/>
            </a:lvl5pPr>
            <a:lvl6pPr marL="2438230" indent="0">
              <a:buNone/>
              <a:defRPr sz="960"/>
            </a:lvl6pPr>
            <a:lvl7pPr marL="2925874" indent="0">
              <a:buNone/>
              <a:defRPr sz="960"/>
            </a:lvl7pPr>
            <a:lvl8pPr marL="3413522" indent="0">
              <a:buNone/>
              <a:defRPr sz="960"/>
            </a:lvl8pPr>
            <a:lvl9pPr marL="3901169" indent="0">
              <a:buNone/>
              <a:defRPr sz="9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685331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697295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28480" y="390608"/>
            <a:ext cx="2926080" cy="83221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0240" y="390608"/>
            <a:ext cx="8561493" cy="832216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57522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2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66" algn="l"/>
              </a:tabLst>
              <a:defRPr sz="1400" b="1">
                <a:solidFill>
                  <a:srgbClr val="FFFFFF"/>
                </a:solidFill>
              </a:defRPr>
            </a:lvl2pPr>
            <a:lvl3pPr marL="1294206" indent="-12942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algn="r" defTabSz="90999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0855630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2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66" algn="l"/>
              </a:tabLst>
              <a:defRPr sz="1400" b="1">
                <a:solidFill>
                  <a:srgbClr val="FFFFFF"/>
                </a:solidFill>
              </a:defRPr>
            </a:lvl2pPr>
            <a:lvl3pPr marL="1294206" indent="-12942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algn="r" defTabSz="90999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15244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3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6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algn="r"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25350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9213594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6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2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4224915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068750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6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algn="r"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309815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183698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4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309" y="2847642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170669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12" tIns="64707" rIns="129412" bIns="64707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12" tIns="64707" rIns="129412" bIns="64707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238" indent="-1572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9828" indent="-33254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985951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412" tIns="64707" rIns="129412" bIns="64707" rtlCol="0">
            <a:spAutoFit/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85891833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37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0462596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1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1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6560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601"/>
            <a:ext cx="292608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601"/>
            <a:ext cx="438912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601"/>
            <a:ext cx="292608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28988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337" algn="l"/>
              </a:tabLst>
              <a:defRPr sz="1400" b="1">
                <a:solidFill>
                  <a:srgbClr val="FFFFFF"/>
                </a:solidFill>
              </a:defRPr>
            </a:lvl2pPr>
            <a:lvl3pPr marL="1235118" indent="-1235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090492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337" algn="l"/>
              </a:tabLst>
              <a:defRPr sz="1400" b="1">
                <a:solidFill>
                  <a:srgbClr val="FFFFFF"/>
                </a:solidFill>
              </a:defRPr>
            </a:lvl2pPr>
            <a:lvl3pPr marL="1235118" indent="-1235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7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t" anchorCtr="0" compatLnSpc="1">
            <a:prstTxWarp prst="textNoShape">
              <a:avLst/>
            </a:prstTxWarp>
          </a:bodyPr>
          <a:lstStyle/>
          <a:p>
            <a:pPr algn="r" defTabSz="8685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76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7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65" tIns="61507" rIns="122865" bIns="61507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65" tIns="61507" rIns="122865" bIns="61507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5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2769" indent="-14991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5" y="300646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115" indent="-31612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6582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2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45154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1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2766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60085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65899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566508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8592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256" tIns="61684" rIns="123256" bIns="61684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256" tIns="61684" rIns="123256" bIns="61684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917" indent="-15033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506" indent="-3170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7003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2" y="4422675"/>
            <a:ext cx="249105" cy="647846"/>
          </a:xfrm>
          <a:prstGeom prst="rect">
            <a:avLst/>
          </a:prstGeom>
          <a:noFill/>
        </p:spPr>
        <p:txBody>
          <a:bodyPr wrap="none" lIns="123256" tIns="61684" rIns="123256" bIns="61684" rtlCol="0">
            <a:spAutoFit/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223409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09662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4285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1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5.xml"/><Relationship Id="rId13" Type="http://schemas.openxmlformats.org/officeDocument/2006/relationships/theme" Target="../theme/theme10.xml"/><Relationship Id="rId1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3.xml"/></Relationships>
</file>

<file path=ppt/slideMasters/_rels/slideMaster1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47.xml"/><Relationship Id="rId13" Type="http://schemas.openxmlformats.org/officeDocument/2006/relationships/theme" Target="../theme/theme11.xml"/><Relationship Id="rId1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2.xml"/><Relationship Id="rId8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5.xml"/></Relationships>
</file>

<file path=ppt/slideMasters/_rels/slideMaster1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59.xml"/><Relationship Id="rId13" Type="http://schemas.openxmlformats.org/officeDocument/2006/relationships/theme" Target="../theme/theme12.xml"/><Relationship Id="rId1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4.xml"/><Relationship Id="rId8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57.xml"/></Relationships>
</file>

<file path=ppt/slideMasters/_rels/slideMaster1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1.xml"/><Relationship Id="rId13" Type="http://schemas.openxmlformats.org/officeDocument/2006/relationships/theme" Target="../theme/theme13.xml"/><Relationship Id="rId1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69.xml"/></Relationships>
</file>

<file path=ppt/slideMasters/_rels/slideMaster1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4.xml"/><Relationship Id="rId14" Type="http://schemas.openxmlformats.org/officeDocument/2006/relationships/theme" Target="../theme/theme14.xml"/><Relationship Id="rId1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78.xml"/><Relationship Id="rId8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81.xml"/></Relationships>
</file>

<file path=ppt/slideMasters/_rels/slideMaster1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197.xml"/><Relationship Id="rId14" Type="http://schemas.openxmlformats.org/officeDocument/2006/relationships/theme" Target="../theme/theme15.xml"/><Relationship Id="rId1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4.xml"/></Relationships>
</file>

<file path=ppt/slideMasters/_rels/slideMaster1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0.xml"/><Relationship Id="rId14" Type="http://schemas.openxmlformats.org/officeDocument/2006/relationships/theme" Target="../theme/theme16.xml"/><Relationship Id="rId1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4.xml"/><Relationship Id="rId8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07.xml"/></Relationships>
</file>

<file path=ppt/slideMasters/_rels/slideMaster1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26.xml"/><Relationship Id="rId17" Type="http://schemas.openxmlformats.org/officeDocument/2006/relationships/theme" Target="../theme/theme17.xml"/><Relationship Id="rId1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0.xml"/></Relationships>
</file>

<file path=ppt/slideMasters/_rels/slideMaster1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38.xml"/><Relationship Id="rId13" Type="http://schemas.openxmlformats.org/officeDocument/2006/relationships/theme" Target="../theme/theme18.xml"/><Relationship Id="rId1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3.xml"/><Relationship Id="rId8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36.xml"/></Relationships>
</file>

<file path=ppt/slideMasters/_rels/slideMaster1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0.xml"/><Relationship Id="rId13" Type="http://schemas.openxmlformats.org/officeDocument/2006/relationships/theme" Target="../theme/theme19.xml"/><Relationship Id="rId1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5.xml"/><Relationship Id="rId8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4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2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62.xml"/><Relationship Id="rId13" Type="http://schemas.openxmlformats.org/officeDocument/2006/relationships/theme" Target="../theme/theme20.xml"/><Relationship Id="rId1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57.xml"/><Relationship Id="rId8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60.xml"/></Relationships>
</file>

<file path=ppt/slideMasters/_rels/slideMaster2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77.xml"/><Relationship Id="rId16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0.xml"/><Relationship Id="rId19" Type="http://schemas.openxmlformats.org/officeDocument/2006/relationships/theme" Target="../theme/theme21.xml"/><Relationship Id="rId1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69.xml"/><Relationship Id="rId8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72.xml"/></Relationships>
</file>

<file path=ppt/slideMasters/_rels/slideMaster2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91.xml"/><Relationship Id="rId12" Type="http://schemas.openxmlformats.org/officeDocument/2006/relationships/slideLayout" Target="../slideLayouts/slideLayout292.xml"/><Relationship Id="rId13" Type="http://schemas.openxmlformats.org/officeDocument/2006/relationships/slideLayout" Target="../slideLayouts/slideLayout293.xml"/><Relationship Id="rId14" Type="http://schemas.openxmlformats.org/officeDocument/2006/relationships/slideLayout" Target="../slideLayouts/slideLayout294.xml"/><Relationship Id="rId15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296.xml"/><Relationship Id="rId17" Type="http://schemas.openxmlformats.org/officeDocument/2006/relationships/theme" Target="../theme/theme22.xml"/><Relationship Id="rId1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87.xml"/><Relationship Id="rId8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0.xml"/></Relationships>
</file>

<file path=ppt/slideMasters/_rels/slideMaster2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311.xml"/><Relationship Id="rId16" Type="http://schemas.openxmlformats.org/officeDocument/2006/relationships/slideLayout" Target="../slideLayouts/slideLayout312.xml"/><Relationship Id="rId17" Type="http://schemas.openxmlformats.org/officeDocument/2006/relationships/theme" Target="../theme/theme23.xml"/><Relationship Id="rId1" Type="http://schemas.openxmlformats.org/officeDocument/2006/relationships/slideLayout" Target="../slideLayouts/slideLayout297.xml"/><Relationship Id="rId2" Type="http://schemas.openxmlformats.org/officeDocument/2006/relationships/slideLayout" Target="../slideLayouts/slideLayout298.xml"/><Relationship Id="rId3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3.xml"/><Relationship Id="rId8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06.xml"/></Relationships>
</file>

<file path=ppt/slideMasters/_rels/slideMaster2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5.xml"/><Relationship Id="rId14" Type="http://schemas.openxmlformats.org/officeDocument/2006/relationships/theme" Target="../theme/theme24.xml"/><Relationship Id="rId1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22.xml"/></Relationships>
</file>

<file path=ppt/slideMasters/_rels/slideMaster2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38.xml"/><Relationship Id="rId14" Type="http://schemas.openxmlformats.org/officeDocument/2006/relationships/theme" Target="../theme/theme25.xml"/><Relationship Id="rId1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2.xml"/><Relationship Id="rId8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4.xml"/><Relationship Id="rId10" Type="http://schemas.openxmlformats.org/officeDocument/2006/relationships/slideLayout" Target="../slideLayouts/slideLayout335.xml"/></Relationships>
</file>

<file path=ppt/slideMasters/_rels/slideMaster2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9.xml"/><Relationship Id="rId12" Type="http://schemas.openxmlformats.org/officeDocument/2006/relationships/slideLayout" Target="../slideLayouts/slideLayout350.xml"/><Relationship Id="rId13" Type="http://schemas.openxmlformats.org/officeDocument/2006/relationships/slideLayout" Target="../slideLayouts/slideLayout351.xml"/><Relationship Id="rId14" Type="http://schemas.openxmlformats.org/officeDocument/2006/relationships/theme" Target="../theme/theme26.xml"/><Relationship Id="rId1" Type="http://schemas.openxmlformats.org/officeDocument/2006/relationships/slideLayout" Target="../slideLayouts/slideLayout339.xml"/><Relationship Id="rId2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5.xml"/><Relationship Id="rId8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48.xml"/></Relationships>
</file>

<file path=ppt/slideMasters/_rels/slideMaster2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62.xml"/><Relationship Id="rId12" Type="http://schemas.openxmlformats.org/officeDocument/2006/relationships/slideLayout" Target="../slideLayouts/slideLayout363.xml"/><Relationship Id="rId13" Type="http://schemas.openxmlformats.org/officeDocument/2006/relationships/slideLayout" Target="../slideLayouts/slideLayout364.xml"/><Relationship Id="rId14" Type="http://schemas.openxmlformats.org/officeDocument/2006/relationships/theme" Target="../theme/theme27.xml"/><Relationship Id="rId1" Type="http://schemas.openxmlformats.org/officeDocument/2006/relationships/slideLayout" Target="../slideLayouts/slideLayout352.xml"/><Relationship Id="rId2" Type="http://schemas.openxmlformats.org/officeDocument/2006/relationships/slideLayout" Target="../slideLayouts/slideLayout353.xml"/><Relationship Id="rId3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58.xml"/><Relationship Id="rId8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61.xml"/></Relationships>
</file>

<file path=ppt/slideMasters/_rels/slideMaster2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76.xml"/><Relationship Id="rId13" Type="http://schemas.openxmlformats.org/officeDocument/2006/relationships/slideLayout" Target="../slideLayouts/slideLayout377.xml"/><Relationship Id="rId14" Type="http://schemas.openxmlformats.org/officeDocument/2006/relationships/theme" Target="../theme/theme28.xml"/><Relationship Id="rId1" Type="http://schemas.openxmlformats.org/officeDocument/2006/relationships/slideLayout" Target="../slideLayouts/slideLayout365.xml"/><Relationship Id="rId2" Type="http://schemas.openxmlformats.org/officeDocument/2006/relationships/slideLayout" Target="../slideLayouts/slideLayout366.xml"/><Relationship Id="rId3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1.xml"/><Relationship Id="rId8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3.xml"/><Relationship Id="rId10" Type="http://schemas.openxmlformats.org/officeDocument/2006/relationships/slideLayout" Target="../slideLayouts/slideLayout374.xml"/></Relationships>
</file>

<file path=ppt/slideMasters/_rels/slideMaster2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0.xml"/><Relationship Id="rId14" Type="http://schemas.openxmlformats.org/officeDocument/2006/relationships/theme" Target="../theme/theme29.xml"/><Relationship Id="rId1" Type="http://schemas.openxmlformats.org/officeDocument/2006/relationships/slideLayout" Target="../slideLayouts/slideLayout378.xml"/><Relationship Id="rId2" Type="http://schemas.openxmlformats.org/officeDocument/2006/relationships/slideLayout" Target="../slideLayouts/slideLayout379.xml"/><Relationship Id="rId3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81.xml"/><Relationship Id="rId5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4.xml"/><Relationship Id="rId8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86.xml"/><Relationship Id="rId10" Type="http://schemas.openxmlformats.org/officeDocument/2006/relationships/slideLayout" Target="../slideLayouts/slideLayout387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37.xml"/><Relationship Id="rId14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_rels/slideMaster3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01.xml"/><Relationship Id="rId12" Type="http://schemas.openxmlformats.org/officeDocument/2006/relationships/slideLayout" Target="../slideLayouts/slideLayout402.xml"/><Relationship Id="rId13" Type="http://schemas.openxmlformats.org/officeDocument/2006/relationships/theme" Target="../theme/theme30.xml"/><Relationship Id="rId1" Type="http://schemas.openxmlformats.org/officeDocument/2006/relationships/slideLayout" Target="../slideLayouts/slideLayout391.xml"/><Relationship Id="rId2" Type="http://schemas.openxmlformats.org/officeDocument/2006/relationships/slideLayout" Target="../slideLayouts/slideLayout392.xml"/><Relationship Id="rId3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397.xml"/><Relationship Id="rId8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400.xml"/></Relationships>
</file>

<file path=ppt/slideMasters/_rels/slideMaster3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13.xml"/><Relationship Id="rId12" Type="http://schemas.openxmlformats.org/officeDocument/2006/relationships/slideLayout" Target="../slideLayouts/slideLayout414.xml"/><Relationship Id="rId13" Type="http://schemas.openxmlformats.org/officeDocument/2006/relationships/slideLayout" Target="../slideLayouts/slideLayout415.xml"/><Relationship Id="rId14" Type="http://schemas.openxmlformats.org/officeDocument/2006/relationships/theme" Target="../theme/theme31.xml"/><Relationship Id="rId1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09.xml"/><Relationship Id="rId8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1.xml"/><Relationship Id="rId10" Type="http://schemas.openxmlformats.org/officeDocument/2006/relationships/slideLayout" Target="../slideLayouts/slideLayout412.xml"/></Relationships>
</file>

<file path=ppt/slideMasters/_rels/slideMaster3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27.xml"/><Relationship Id="rId13" Type="http://schemas.openxmlformats.org/officeDocument/2006/relationships/theme" Target="../theme/theme32.xml"/><Relationship Id="rId1" Type="http://schemas.openxmlformats.org/officeDocument/2006/relationships/slideLayout" Target="../slideLayouts/slideLayout416.xml"/><Relationship Id="rId2" Type="http://schemas.openxmlformats.org/officeDocument/2006/relationships/slideLayout" Target="../slideLayouts/slideLayout417.xml"/><Relationship Id="rId3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1.xml"/><Relationship Id="rId7" Type="http://schemas.openxmlformats.org/officeDocument/2006/relationships/slideLayout" Target="../slideLayouts/slideLayout422.xml"/><Relationship Id="rId8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25.xml"/></Relationships>
</file>

<file path=ppt/slideMasters/_rels/slideMaster3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39.xml"/><Relationship Id="rId13" Type="http://schemas.openxmlformats.org/officeDocument/2006/relationships/slideLayout" Target="../slideLayouts/slideLayout440.xml"/><Relationship Id="rId14" Type="http://schemas.openxmlformats.org/officeDocument/2006/relationships/theme" Target="../theme/theme33.xml"/><Relationship Id="rId1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429.xml"/><Relationship Id="rId3" Type="http://schemas.openxmlformats.org/officeDocument/2006/relationships/slideLayout" Target="../slideLayouts/slideLayout430.xml"/><Relationship Id="rId4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3.xml"/><Relationship Id="rId7" Type="http://schemas.openxmlformats.org/officeDocument/2006/relationships/slideLayout" Target="../slideLayouts/slideLayout434.xml"/><Relationship Id="rId8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36.xml"/><Relationship Id="rId10" Type="http://schemas.openxmlformats.org/officeDocument/2006/relationships/slideLayout" Target="../slideLayouts/slideLayout437.xml"/></Relationships>
</file>

<file path=ppt/slideMasters/_rels/slideMaster3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1.xml"/><Relationship Id="rId12" Type="http://schemas.openxmlformats.org/officeDocument/2006/relationships/slideLayout" Target="../slideLayouts/slideLayout452.xml"/><Relationship Id="rId13" Type="http://schemas.openxmlformats.org/officeDocument/2006/relationships/slideLayout" Target="../slideLayouts/slideLayout453.xml"/><Relationship Id="rId14" Type="http://schemas.openxmlformats.org/officeDocument/2006/relationships/slideLayout" Target="../slideLayouts/slideLayout454.xml"/><Relationship Id="rId15" Type="http://schemas.openxmlformats.org/officeDocument/2006/relationships/theme" Target="../theme/theme34.xml"/><Relationship Id="rId1" Type="http://schemas.openxmlformats.org/officeDocument/2006/relationships/slideLayout" Target="../slideLayouts/slideLayout441.xml"/><Relationship Id="rId2" Type="http://schemas.openxmlformats.org/officeDocument/2006/relationships/slideLayout" Target="../slideLayouts/slideLayout442.xml"/><Relationship Id="rId3" Type="http://schemas.openxmlformats.org/officeDocument/2006/relationships/slideLayout" Target="../slideLayouts/slideLayout443.xml"/><Relationship Id="rId4" Type="http://schemas.openxmlformats.org/officeDocument/2006/relationships/slideLayout" Target="../slideLayouts/slideLayout444.xml"/><Relationship Id="rId5" Type="http://schemas.openxmlformats.org/officeDocument/2006/relationships/slideLayout" Target="../slideLayouts/slideLayout445.xml"/><Relationship Id="rId6" Type="http://schemas.openxmlformats.org/officeDocument/2006/relationships/slideLayout" Target="../slideLayouts/slideLayout446.xml"/><Relationship Id="rId7" Type="http://schemas.openxmlformats.org/officeDocument/2006/relationships/slideLayout" Target="../slideLayouts/slideLayout447.xml"/><Relationship Id="rId8" Type="http://schemas.openxmlformats.org/officeDocument/2006/relationships/slideLayout" Target="../slideLayouts/slideLayout448.xml"/><Relationship Id="rId9" Type="http://schemas.openxmlformats.org/officeDocument/2006/relationships/slideLayout" Target="../slideLayouts/slideLayout449.xml"/><Relationship Id="rId10" Type="http://schemas.openxmlformats.org/officeDocument/2006/relationships/slideLayout" Target="../slideLayouts/slideLayout450.xml"/></Relationships>
</file>

<file path=ppt/slideMasters/_rels/slideMaster3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65.xml"/><Relationship Id="rId12" Type="http://schemas.openxmlformats.org/officeDocument/2006/relationships/slideLayout" Target="../slideLayouts/slideLayout466.xml"/><Relationship Id="rId13" Type="http://schemas.openxmlformats.org/officeDocument/2006/relationships/slideLayout" Target="../slideLayouts/slideLayout467.xml"/><Relationship Id="rId14" Type="http://schemas.openxmlformats.org/officeDocument/2006/relationships/theme" Target="../theme/theme35.xml"/><Relationship Id="rId1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56.xml"/><Relationship Id="rId3" Type="http://schemas.openxmlformats.org/officeDocument/2006/relationships/slideLayout" Target="../slideLayouts/slideLayout457.xml"/><Relationship Id="rId4" Type="http://schemas.openxmlformats.org/officeDocument/2006/relationships/slideLayout" Target="../slideLayouts/slideLayout458.xml"/><Relationship Id="rId5" Type="http://schemas.openxmlformats.org/officeDocument/2006/relationships/slideLayout" Target="../slideLayouts/slideLayout459.xml"/><Relationship Id="rId6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61.xml"/><Relationship Id="rId8" Type="http://schemas.openxmlformats.org/officeDocument/2006/relationships/slideLayout" Target="../slideLayouts/slideLayout462.xml"/><Relationship Id="rId9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64.xml"/></Relationships>
</file>

<file path=ppt/slideMasters/_rels/slideMaster3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78.xml"/><Relationship Id="rId12" Type="http://schemas.openxmlformats.org/officeDocument/2006/relationships/slideLayout" Target="../slideLayouts/slideLayout479.xml"/><Relationship Id="rId13" Type="http://schemas.openxmlformats.org/officeDocument/2006/relationships/slideLayout" Target="../slideLayouts/slideLayout480.xml"/><Relationship Id="rId14" Type="http://schemas.openxmlformats.org/officeDocument/2006/relationships/theme" Target="../theme/theme36.xml"/><Relationship Id="rId1" Type="http://schemas.openxmlformats.org/officeDocument/2006/relationships/slideLayout" Target="../slideLayouts/slideLayout468.xml"/><Relationship Id="rId2" Type="http://schemas.openxmlformats.org/officeDocument/2006/relationships/slideLayout" Target="../slideLayouts/slideLayout469.xml"/><Relationship Id="rId3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2.xml"/><Relationship Id="rId6" Type="http://schemas.openxmlformats.org/officeDocument/2006/relationships/slideLayout" Target="../slideLayouts/slideLayout473.xml"/><Relationship Id="rId7" Type="http://schemas.openxmlformats.org/officeDocument/2006/relationships/slideLayout" Target="../slideLayouts/slideLayout474.xml"/><Relationship Id="rId8" Type="http://schemas.openxmlformats.org/officeDocument/2006/relationships/slideLayout" Target="../slideLayouts/slideLayout475.xml"/><Relationship Id="rId9" Type="http://schemas.openxmlformats.org/officeDocument/2006/relationships/slideLayout" Target="../slideLayouts/slideLayout476.xml"/><Relationship Id="rId10" Type="http://schemas.openxmlformats.org/officeDocument/2006/relationships/slideLayout" Target="../slideLayouts/slideLayout477.xml"/></Relationships>
</file>

<file path=ppt/slideMasters/_rels/slideMaster3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2.xml"/><Relationship Id="rId13" Type="http://schemas.openxmlformats.org/officeDocument/2006/relationships/theme" Target="../theme/theme37.xml"/><Relationship Id="rId1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84.xml"/><Relationship Id="rId5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86.xml"/><Relationship Id="rId7" Type="http://schemas.openxmlformats.org/officeDocument/2006/relationships/slideLayout" Target="../slideLayouts/slideLayout487.xml"/><Relationship Id="rId8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89.xml"/><Relationship Id="rId10" Type="http://schemas.openxmlformats.org/officeDocument/2006/relationships/slideLayout" Target="../slideLayouts/slideLayout490.xml"/></Relationships>
</file>

<file path=ppt/slideMasters/_rels/slideMaster3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03.xml"/><Relationship Id="rId12" Type="http://schemas.openxmlformats.org/officeDocument/2006/relationships/slideLayout" Target="../slideLayouts/slideLayout504.xml"/><Relationship Id="rId13" Type="http://schemas.openxmlformats.org/officeDocument/2006/relationships/slideLayout" Target="../slideLayouts/slideLayout505.xml"/><Relationship Id="rId14" Type="http://schemas.openxmlformats.org/officeDocument/2006/relationships/slideLayout" Target="../slideLayouts/slideLayout506.xml"/><Relationship Id="rId15" Type="http://schemas.openxmlformats.org/officeDocument/2006/relationships/slideLayout" Target="../slideLayouts/slideLayout507.xml"/><Relationship Id="rId16" Type="http://schemas.openxmlformats.org/officeDocument/2006/relationships/theme" Target="../theme/theme38.xml"/><Relationship Id="rId1" Type="http://schemas.openxmlformats.org/officeDocument/2006/relationships/slideLayout" Target="../slideLayouts/slideLayout493.xml"/><Relationship Id="rId2" Type="http://schemas.openxmlformats.org/officeDocument/2006/relationships/slideLayout" Target="../slideLayouts/slideLayout494.xml"/><Relationship Id="rId3" Type="http://schemas.openxmlformats.org/officeDocument/2006/relationships/slideLayout" Target="../slideLayouts/slideLayout495.xml"/><Relationship Id="rId4" Type="http://schemas.openxmlformats.org/officeDocument/2006/relationships/slideLayout" Target="../slideLayouts/slideLayout496.xml"/><Relationship Id="rId5" Type="http://schemas.openxmlformats.org/officeDocument/2006/relationships/slideLayout" Target="../slideLayouts/slideLayout497.xml"/><Relationship Id="rId6" Type="http://schemas.openxmlformats.org/officeDocument/2006/relationships/slideLayout" Target="../slideLayouts/slideLayout498.xml"/><Relationship Id="rId7" Type="http://schemas.openxmlformats.org/officeDocument/2006/relationships/slideLayout" Target="../slideLayouts/slideLayout499.xml"/><Relationship Id="rId8" Type="http://schemas.openxmlformats.org/officeDocument/2006/relationships/slideLayout" Target="../slideLayouts/slideLayout500.xml"/><Relationship Id="rId9" Type="http://schemas.openxmlformats.org/officeDocument/2006/relationships/slideLayout" Target="../slideLayouts/slideLayout501.xml"/><Relationship Id="rId10" Type="http://schemas.openxmlformats.org/officeDocument/2006/relationships/slideLayout" Target="../slideLayouts/slideLayout502.xml"/></Relationships>
</file>

<file path=ppt/slideMasters/_rels/slideMaster3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19.xml"/><Relationship Id="rId13" Type="http://schemas.openxmlformats.org/officeDocument/2006/relationships/theme" Target="../theme/theme39.xml"/><Relationship Id="rId1" Type="http://schemas.openxmlformats.org/officeDocument/2006/relationships/slideLayout" Target="../slideLayouts/slideLayout508.xml"/><Relationship Id="rId2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10.xml"/><Relationship Id="rId4" Type="http://schemas.openxmlformats.org/officeDocument/2006/relationships/slideLayout" Target="../slideLayouts/slideLayout511.xml"/><Relationship Id="rId5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3.xml"/><Relationship Id="rId7" Type="http://schemas.openxmlformats.org/officeDocument/2006/relationships/slideLayout" Target="../slideLayouts/slideLayout514.xml"/><Relationship Id="rId8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16.xml"/><Relationship Id="rId10" Type="http://schemas.openxmlformats.org/officeDocument/2006/relationships/slideLayout" Target="../slideLayouts/slideLayout517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5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4.xml"/><Relationship Id="rId8" Type="http://schemas.openxmlformats.org/officeDocument/2006/relationships/slideLayout" Target="../slideLayouts/slideLayout45.xml"/><Relationship Id="rId9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7.xml"/></Relationships>
</file>

<file path=ppt/slideMasters/_rels/slideMaster4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30.xml"/><Relationship Id="rId12" Type="http://schemas.openxmlformats.org/officeDocument/2006/relationships/slideLayout" Target="../slideLayouts/slideLayout531.xml"/><Relationship Id="rId13" Type="http://schemas.openxmlformats.org/officeDocument/2006/relationships/theme" Target="../theme/theme40.xml"/><Relationship Id="rId1" Type="http://schemas.openxmlformats.org/officeDocument/2006/relationships/slideLayout" Target="../slideLayouts/slideLayout520.xml"/><Relationship Id="rId2" Type="http://schemas.openxmlformats.org/officeDocument/2006/relationships/slideLayout" Target="../slideLayouts/slideLayout521.xml"/><Relationship Id="rId3" Type="http://schemas.openxmlformats.org/officeDocument/2006/relationships/slideLayout" Target="../slideLayouts/slideLayout522.xml"/><Relationship Id="rId4" Type="http://schemas.openxmlformats.org/officeDocument/2006/relationships/slideLayout" Target="../slideLayouts/slideLayout523.xml"/><Relationship Id="rId5" Type="http://schemas.openxmlformats.org/officeDocument/2006/relationships/slideLayout" Target="../slideLayouts/slideLayout524.xml"/><Relationship Id="rId6" Type="http://schemas.openxmlformats.org/officeDocument/2006/relationships/slideLayout" Target="../slideLayouts/slideLayout525.xml"/><Relationship Id="rId7" Type="http://schemas.openxmlformats.org/officeDocument/2006/relationships/slideLayout" Target="../slideLayouts/slideLayout526.xml"/><Relationship Id="rId8" Type="http://schemas.openxmlformats.org/officeDocument/2006/relationships/slideLayout" Target="../slideLayouts/slideLayout527.xml"/><Relationship Id="rId9" Type="http://schemas.openxmlformats.org/officeDocument/2006/relationships/slideLayout" Target="../slideLayouts/slideLayout528.xml"/><Relationship Id="rId10" Type="http://schemas.openxmlformats.org/officeDocument/2006/relationships/slideLayout" Target="../slideLayouts/slideLayout529.xml"/></Relationships>
</file>

<file path=ppt/slideMasters/_rels/slideMaster4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2.xml"/><Relationship Id="rId12" Type="http://schemas.openxmlformats.org/officeDocument/2006/relationships/slideLayout" Target="../slideLayouts/slideLayout543.xml"/><Relationship Id="rId13" Type="http://schemas.openxmlformats.org/officeDocument/2006/relationships/theme" Target="../theme/theme41.xml"/><Relationship Id="rId1" Type="http://schemas.openxmlformats.org/officeDocument/2006/relationships/slideLayout" Target="../slideLayouts/slideLayout532.xml"/><Relationship Id="rId2" Type="http://schemas.openxmlformats.org/officeDocument/2006/relationships/slideLayout" Target="../slideLayouts/slideLayout533.xml"/><Relationship Id="rId3" Type="http://schemas.openxmlformats.org/officeDocument/2006/relationships/slideLayout" Target="../slideLayouts/slideLayout534.xml"/><Relationship Id="rId4" Type="http://schemas.openxmlformats.org/officeDocument/2006/relationships/slideLayout" Target="../slideLayouts/slideLayout535.xml"/><Relationship Id="rId5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37.xml"/><Relationship Id="rId7" Type="http://schemas.openxmlformats.org/officeDocument/2006/relationships/slideLayout" Target="../slideLayouts/slideLayout538.xml"/><Relationship Id="rId8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0.xml"/><Relationship Id="rId10" Type="http://schemas.openxmlformats.org/officeDocument/2006/relationships/slideLayout" Target="../slideLayouts/slideLayout541.xml"/></Relationships>
</file>

<file path=ppt/slideMasters/_rels/slideMaster4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4.xml"/><Relationship Id="rId12" Type="http://schemas.openxmlformats.org/officeDocument/2006/relationships/slideLayout" Target="../slideLayouts/slideLayout555.xml"/><Relationship Id="rId13" Type="http://schemas.openxmlformats.org/officeDocument/2006/relationships/theme" Target="../theme/theme42.xml"/><Relationship Id="rId1" Type="http://schemas.openxmlformats.org/officeDocument/2006/relationships/slideLayout" Target="../slideLayouts/slideLayout544.xml"/><Relationship Id="rId2" Type="http://schemas.openxmlformats.org/officeDocument/2006/relationships/slideLayout" Target="../slideLayouts/slideLayout545.xml"/><Relationship Id="rId3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7.xml"/><Relationship Id="rId5" Type="http://schemas.openxmlformats.org/officeDocument/2006/relationships/slideLayout" Target="../slideLayouts/slideLayout548.xml"/><Relationship Id="rId6" Type="http://schemas.openxmlformats.org/officeDocument/2006/relationships/slideLayout" Target="../slideLayouts/slideLayout549.xml"/><Relationship Id="rId7" Type="http://schemas.openxmlformats.org/officeDocument/2006/relationships/slideLayout" Target="../slideLayouts/slideLayout550.xml"/><Relationship Id="rId8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53.xml"/></Relationships>
</file>

<file path=ppt/slideMasters/_rels/slideMaster4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67.xml"/><Relationship Id="rId13" Type="http://schemas.openxmlformats.org/officeDocument/2006/relationships/theme" Target="../theme/theme43.xml"/><Relationship Id="rId1" Type="http://schemas.openxmlformats.org/officeDocument/2006/relationships/slideLayout" Target="../slideLayouts/slideLayout556.xml"/><Relationship Id="rId2" Type="http://schemas.openxmlformats.org/officeDocument/2006/relationships/slideLayout" Target="../slideLayouts/slideLayout557.xml"/><Relationship Id="rId3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9.xml"/><Relationship Id="rId5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2.xml"/><Relationship Id="rId8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4.xml"/><Relationship Id="rId10" Type="http://schemas.openxmlformats.org/officeDocument/2006/relationships/slideLayout" Target="../slideLayouts/slideLayout565.xml"/></Relationships>
</file>

<file path=ppt/slideMasters/_rels/slideMaster4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78.xml"/><Relationship Id="rId12" Type="http://schemas.openxmlformats.org/officeDocument/2006/relationships/slideLayout" Target="../slideLayouts/slideLayout579.xml"/><Relationship Id="rId13" Type="http://schemas.openxmlformats.org/officeDocument/2006/relationships/slideLayout" Target="../slideLayouts/slideLayout580.xml"/><Relationship Id="rId14" Type="http://schemas.openxmlformats.org/officeDocument/2006/relationships/theme" Target="../theme/theme44.xml"/><Relationship Id="rId1" Type="http://schemas.openxmlformats.org/officeDocument/2006/relationships/slideLayout" Target="../slideLayouts/slideLayout568.xml"/><Relationship Id="rId2" Type="http://schemas.openxmlformats.org/officeDocument/2006/relationships/slideLayout" Target="../slideLayouts/slideLayout569.xml"/><Relationship Id="rId3" Type="http://schemas.openxmlformats.org/officeDocument/2006/relationships/slideLayout" Target="../slideLayouts/slideLayout570.xml"/><Relationship Id="rId4" Type="http://schemas.openxmlformats.org/officeDocument/2006/relationships/slideLayout" Target="../slideLayouts/slideLayout571.xml"/><Relationship Id="rId5" Type="http://schemas.openxmlformats.org/officeDocument/2006/relationships/slideLayout" Target="../slideLayouts/slideLayout572.xml"/><Relationship Id="rId6" Type="http://schemas.openxmlformats.org/officeDocument/2006/relationships/slideLayout" Target="../slideLayouts/slideLayout573.xml"/><Relationship Id="rId7" Type="http://schemas.openxmlformats.org/officeDocument/2006/relationships/slideLayout" Target="../slideLayouts/slideLayout574.xml"/><Relationship Id="rId8" Type="http://schemas.openxmlformats.org/officeDocument/2006/relationships/slideLayout" Target="../slideLayouts/slideLayout575.xml"/><Relationship Id="rId9" Type="http://schemas.openxmlformats.org/officeDocument/2006/relationships/slideLayout" Target="../slideLayouts/slideLayout576.xml"/><Relationship Id="rId10" Type="http://schemas.openxmlformats.org/officeDocument/2006/relationships/slideLayout" Target="../slideLayouts/slideLayout577.xml"/></Relationships>
</file>

<file path=ppt/slideMasters/_rels/slideMaster4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91.xml"/><Relationship Id="rId12" Type="http://schemas.openxmlformats.org/officeDocument/2006/relationships/slideLayout" Target="../slideLayouts/slideLayout592.xml"/><Relationship Id="rId13" Type="http://schemas.openxmlformats.org/officeDocument/2006/relationships/theme" Target="../theme/theme45.xml"/><Relationship Id="rId1" Type="http://schemas.openxmlformats.org/officeDocument/2006/relationships/slideLayout" Target="../slideLayouts/slideLayout581.xml"/><Relationship Id="rId2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589.xml"/><Relationship Id="rId10" Type="http://schemas.openxmlformats.org/officeDocument/2006/relationships/slideLayout" Target="../slideLayouts/slideLayout590.xml"/></Relationships>
</file>

<file path=ppt/slideMasters/_rels/slideMaster4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03.xml"/><Relationship Id="rId12" Type="http://schemas.openxmlformats.org/officeDocument/2006/relationships/slideLayout" Target="../slideLayouts/slideLayout604.xml"/><Relationship Id="rId13" Type="http://schemas.openxmlformats.org/officeDocument/2006/relationships/theme" Target="../theme/theme46.xml"/><Relationship Id="rId1" Type="http://schemas.openxmlformats.org/officeDocument/2006/relationships/slideLayout" Target="../slideLayouts/slideLayout593.xml"/><Relationship Id="rId2" Type="http://schemas.openxmlformats.org/officeDocument/2006/relationships/slideLayout" Target="../slideLayouts/slideLayout594.xml"/><Relationship Id="rId3" Type="http://schemas.openxmlformats.org/officeDocument/2006/relationships/slideLayout" Target="../slideLayouts/slideLayout595.xml"/><Relationship Id="rId4" Type="http://schemas.openxmlformats.org/officeDocument/2006/relationships/slideLayout" Target="../slideLayouts/slideLayout596.xml"/><Relationship Id="rId5" Type="http://schemas.openxmlformats.org/officeDocument/2006/relationships/slideLayout" Target="../slideLayouts/slideLayout597.xml"/><Relationship Id="rId6" Type="http://schemas.openxmlformats.org/officeDocument/2006/relationships/slideLayout" Target="../slideLayouts/slideLayout598.xml"/><Relationship Id="rId7" Type="http://schemas.openxmlformats.org/officeDocument/2006/relationships/slideLayout" Target="../slideLayouts/slideLayout599.xml"/><Relationship Id="rId8" Type="http://schemas.openxmlformats.org/officeDocument/2006/relationships/slideLayout" Target="../slideLayouts/slideLayout600.xml"/><Relationship Id="rId9" Type="http://schemas.openxmlformats.org/officeDocument/2006/relationships/slideLayout" Target="../slideLayouts/slideLayout601.xml"/><Relationship Id="rId10" Type="http://schemas.openxmlformats.org/officeDocument/2006/relationships/slideLayout" Target="../slideLayouts/slideLayout602.xml"/></Relationships>
</file>

<file path=ppt/slideMasters/_rels/slideMaster4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15.xml"/><Relationship Id="rId12" Type="http://schemas.openxmlformats.org/officeDocument/2006/relationships/slideLayout" Target="../slideLayouts/slideLayout616.xml"/><Relationship Id="rId13" Type="http://schemas.openxmlformats.org/officeDocument/2006/relationships/theme" Target="../theme/theme47.xml"/><Relationship Id="rId1" Type="http://schemas.openxmlformats.org/officeDocument/2006/relationships/slideLayout" Target="../slideLayouts/slideLayout605.xml"/><Relationship Id="rId2" Type="http://schemas.openxmlformats.org/officeDocument/2006/relationships/slideLayout" Target="../slideLayouts/slideLayout606.xml"/><Relationship Id="rId3" Type="http://schemas.openxmlformats.org/officeDocument/2006/relationships/slideLayout" Target="../slideLayouts/slideLayout607.xml"/><Relationship Id="rId4" Type="http://schemas.openxmlformats.org/officeDocument/2006/relationships/slideLayout" Target="../slideLayouts/slideLayout608.xml"/><Relationship Id="rId5" Type="http://schemas.openxmlformats.org/officeDocument/2006/relationships/slideLayout" Target="../slideLayouts/slideLayout609.xml"/><Relationship Id="rId6" Type="http://schemas.openxmlformats.org/officeDocument/2006/relationships/slideLayout" Target="../slideLayouts/slideLayout610.xml"/><Relationship Id="rId7" Type="http://schemas.openxmlformats.org/officeDocument/2006/relationships/slideLayout" Target="../slideLayouts/slideLayout611.xml"/><Relationship Id="rId8" Type="http://schemas.openxmlformats.org/officeDocument/2006/relationships/slideLayout" Target="../slideLayouts/slideLayout612.xml"/><Relationship Id="rId9" Type="http://schemas.openxmlformats.org/officeDocument/2006/relationships/slideLayout" Target="../slideLayouts/slideLayout613.xml"/><Relationship Id="rId10" Type="http://schemas.openxmlformats.org/officeDocument/2006/relationships/slideLayout" Target="../slideLayouts/slideLayout614.xml"/></Relationships>
</file>

<file path=ppt/slideMasters/_rels/slideMaster4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7.xml"/><Relationship Id="rId12" Type="http://schemas.openxmlformats.org/officeDocument/2006/relationships/slideLayout" Target="../slideLayouts/slideLayout628.xml"/><Relationship Id="rId13" Type="http://schemas.openxmlformats.org/officeDocument/2006/relationships/slideLayout" Target="../slideLayouts/slideLayout629.xml"/><Relationship Id="rId14" Type="http://schemas.openxmlformats.org/officeDocument/2006/relationships/theme" Target="../theme/theme48.xml"/><Relationship Id="rId1" Type="http://schemas.openxmlformats.org/officeDocument/2006/relationships/slideLayout" Target="../slideLayouts/slideLayout617.xml"/><Relationship Id="rId2" Type="http://schemas.openxmlformats.org/officeDocument/2006/relationships/slideLayout" Target="../slideLayouts/slideLayout618.xml"/><Relationship Id="rId3" Type="http://schemas.openxmlformats.org/officeDocument/2006/relationships/slideLayout" Target="../slideLayouts/slideLayout619.xml"/><Relationship Id="rId4" Type="http://schemas.openxmlformats.org/officeDocument/2006/relationships/slideLayout" Target="../slideLayouts/slideLayout620.xml"/><Relationship Id="rId5" Type="http://schemas.openxmlformats.org/officeDocument/2006/relationships/slideLayout" Target="../slideLayouts/slideLayout621.xml"/><Relationship Id="rId6" Type="http://schemas.openxmlformats.org/officeDocument/2006/relationships/slideLayout" Target="../slideLayouts/slideLayout622.xml"/><Relationship Id="rId7" Type="http://schemas.openxmlformats.org/officeDocument/2006/relationships/slideLayout" Target="../slideLayouts/slideLayout623.xml"/><Relationship Id="rId8" Type="http://schemas.openxmlformats.org/officeDocument/2006/relationships/slideLayout" Target="../slideLayouts/slideLayout624.xml"/><Relationship Id="rId9" Type="http://schemas.openxmlformats.org/officeDocument/2006/relationships/slideLayout" Target="../slideLayouts/slideLayout625.xml"/><Relationship Id="rId10" Type="http://schemas.openxmlformats.org/officeDocument/2006/relationships/slideLayout" Target="../slideLayouts/slideLayout626.xml"/></Relationships>
</file>

<file path=ppt/slideMasters/_rels/slideMaster4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1.xml"/><Relationship Id="rId13" Type="http://schemas.openxmlformats.org/officeDocument/2006/relationships/theme" Target="../theme/theme49.xml"/><Relationship Id="rId1" Type="http://schemas.openxmlformats.org/officeDocument/2006/relationships/slideLayout" Target="../slideLayouts/slideLayout630.xml"/><Relationship Id="rId2" Type="http://schemas.openxmlformats.org/officeDocument/2006/relationships/slideLayout" Target="../slideLayouts/slideLayout631.xml"/><Relationship Id="rId3" Type="http://schemas.openxmlformats.org/officeDocument/2006/relationships/slideLayout" Target="../slideLayouts/slideLayout632.xml"/><Relationship Id="rId4" Type="http://schemas.openxmlformats.org/officeDocument/2006/relationships/slideLayout" Target="../slideLayouts/slideLayout633.xml"/><Relationship Id="rId5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5.xml"/><Relationship Id="rId7" Type="http://schemas.openxmlformats.org/officeDocument/2006/relationships/slideLayout" Target="../slideLayouts/slideLayout636.xml"/><Relationship Id="rId8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38.xml"/><Relationship Id="rId10" Type="http://schemas.openxmlformats.org/officeDocument/2006/relationships/slideLayout" Target="../slideLayouts/slideLayout639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71.xml"/><Relationship Id="rId17" Type="http://schemas.openxmlformats.org/officeDocument/2006/relationships/theme" Target="../theme/theme5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5.xml"/></Relationships>
</file>

<file path=ppt/slideMasters/_rels/slideMaster5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52.xml"/><Relationship Id="rId12" Type="http://schemas.openxmlformats.org/officeDocument/2006/relationships/slideLayout" Target="../slideLayouts/slideLayout653.xml"/><Relationship Id="rId13" Type="http://schemas.openxmlformats.org/officeDocument/2006/relationships/theme" Target="../theme/theme50.xml"/><Relationship Id="rId1" Type="http://schemas.openxmlformats.org/officeDocument/2006/relationships/slideLayout" Target="../slideLayouts/slideLayout642.xml"/><Relationship Id="rId2" Type="http://schemas.openxmlformats.org/officeDocument/2006/relationships/slideLayout" Target="../slideLayouts/slideLayout643.xml"/><Relationship Id="rId3" Type="http://schemas.openxmlformats.org/officeDocument/2006/relationships/slideLayout" Target="../slideLayouts/slideLayout644.xml"/><Relationship Id="rId4" Type="http://schemas.openxmlformats.org/officeDocument/2006/relationships/slideLayout" Target="../slideLayouts/slideLayout645.xml"/><Relationship Id="rId5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47.xml"/><Relationship Id="rId7" Type="http://schemas.openxmlformats.org/officeDocument/2006/relationships/slideLayout" Target="../slideLayouts/slideLayout648.xml"/><Relationship Id="rId8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0.xml"/><Relationship Id="rId10" Type="http://schemas.openxmlformats.org/officeDocument/2006/relationships/slideLayout" Target="../slideLayouts/slideLayout651.xml"/></Relationships>
</file>

<file path=ppt/slideMasters/_rels/slideMaster5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65.xml"/><Relationship Id="rId13" Type="http://schemas.openxmlformats.org/officeDocument/2006/relationships/theme" Target="../theme/theme51.xml"/><Relationship Id="rId1" Type="http://schemas.openxmlformats.org/officeDocument/2006/relationships/slideLayout" Target="../slideLayouts/slideLayout654.xml"/><Relationship Id="rId2" Type="http://schemas.openxmlformats.org/officeDocument/2006/relationships/slideLayout" Target="../slideLayouts/slideLayout655.xml"/><Relationship Id="rId3" Type="http://schemas.openxmlformats.org/officeDocument/2006/relationships/slideLayout" Target="../slideLayouts/slideLayout656.xml"/><Relationship Id="rId4" Type="http://schemas.openxmlformats.org/officeDocument/2006/relationships/slideLayout" Target="../slideLayouts/slideLayout657.xml"/><Relationship Id="rId5" Type="http://schemas.openxmlformats.org/officeDocument/2006/relationships/slideLayout" Target="../slideLayouts/slideLayout658.xml"/><Relationship Id="rId6" Type="http://schemas.openxmlformats.org/officeDocument/2006/relationships/slideLayout" Target="../slideLayouts/slideLayout659.xml"/><Relationship Id="rId7" Type="http://schemas.openxmlformats.org/officeDocument/2006/relationships/slideLayout" Target="../slideLayouts/slideLayout660.xml"/><Relationship Id="rId8" Type="http://schemas.openxmlformats.org/officeDocument/2006/relationships/slideLayout" Target="../slideLayouts/slideLayout661.xml"/><Relationship Id="rId9" Type="http://schemas.openxmlformats.org/officeDocument/2006/relationships/slideLayout" Target="../slideLayouts/slideLayout662.xml"/><Relationship Id="rId10" Type="http://schemas.openxmlformats.org/officeDocument/2006/relationships/slideLayout" Target="../slideLayouts/slideLayout663.xml"/></Relationships>
</file>

<file path=ppt/slideMasters/_rels/slideMaster5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76.xml"/><Relationship Id="rId12" Type="http://schemas.openxmlformats.org/officeDocument/2006/relationships/slideLayout" Target="../slideLayouts/slideLayout677.xml"/><Relationship Id="rId13" Type="http://schemas.openxmlformats.org/officeDocument/2006/relationships/slideLayout" Target="../slideLayouts/slideLayout678.xml"/><Relationship Id="rId14" Type="http://schemas.openxmlformats.org/officeDocument/2006/relationships/theme" Target="../theme/theme52.xml"/><Relationship Id="rId1" Type="http://schemas.openxmlformats.org/officeDocument/2006/relationships/slideLayout" Target="../slideLayouts/slideLayout666.xml"/><Relationship Id="rId2" Type="http://schemas.openxmlformats.org/officeDocument/2006/relationships/slideLayout" Target="../slideLayouts/slideLayout667.xml"/><Relationship Id="rId3" Type="http://schemas.openxmlformats.org/officeDocument/2006/relationships/slideLayout" Target="../slideLayouts/slideLayout668.xml"/><Relationship Id="rId4" Type="http://schemas.openxmlformats.org/officeDocument/2006/relationships/slideLayout" Target="../slideLayouts/slideLayout669.xml"/><Relationship Id="rId5" Type="http://schemas.openxmlformats.org/officeDocument/2006/relationships/slideLayout" Target="../slideLayouts/slideLayout670.xml"/><Relationship Id="rId6" Type="http://schemas.openxmlformats.org/officeDocument/2006/relationships/slideLayout" Target="../slideLayouts/slideLayout671.xml"/><Relationship Id="rId7" Type="http://schemas.openxmlformats.org/officeDocument/2006/relationships/slideLayout" Target="../slideLayouts/slideLayout672.xml"/><Relationship Id="rId8" Type="http://schemas.openxmlformats.org/officeDocument/2006/relationships/slideLayout" Target="../slideLayouts/slideLayout673.xml"/><Relationship Id="rId9" Type="http://schemas.openxmlformats.org/officeDocument/2006/relationships/slideLayout" Target="../slideLayouts/slideLayout674.xml"/><Relationship Id="rId10" Type="http://schemas.openxmlformats.org/officeDocument/2006/relationships/slideLayout" Target="../slideLayouts/slideLayout675.xml"/></Relationships>
</file>

<file path=ppt/slideMasters/_rels/slideMaster5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89.xml"/><Relationship Id="rId12" Type="http://schemas.openxmlformats.org/officeDocument/2006/relationships/slideLayout" Target="../slideLayouts/slideLayout690.xml"/><Relationship Id="rId13" Type="http://schemas.openxmlformats.org/officeDocument/2006/relationships/theme" Target="../theme/theme53.xml"/><Relationship Id="rId1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81.xml"/><Relationship Id="rId4" Type="http://schemas.openxmlformats.org/officeDocument/2006/relationships/slideLayout" Target="../slideLayouts/slideLayout682.xml"/><Relationship Id="rId5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4.xml"/><Relationship Id="rId7" Type="http://schemas.openxmlformats.org/officeDocument/2006/relationships/slideLayout" Target="../slideLayouts/slideLayout685.xml"/><Relationship Id="rId8" Type="http://schemas.openxmlformats.org/officeDocument/2006/relationships/slideLayout" Target="../slideLayouts/slideLayout686.xml"/><Relationship Id="rId9" Type="http://schemas.openxmlformats.org/officeDocument/2006/relationships/slideLayout" Target="../slideLayouts/slideLayout687.xml"/><Relationship Id="rId10" Type="http://schemas.openxmlformats.org/officeDocument/2006/relationships/slideLayout" Target="../slideLayouts/slideLayout688.xml"/></Relationships>
</file>

<file path=ppt/slideMasters/_rels/slideMaster5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01.xml"/><Relationship Id="rId12" Type="http://schemas.openxmlformats.org/officeDocument/2006/relationships/slideLayout" Target="../slideLayouts/slideLayout702.xml"/><Relationship Id="rId13" Type="http://schemas.openxmlformats.org/officeDocument/2006/relationships/theme" Target="../theme/theme54.xml"/><Relationship Id="rId1" Type="http://schemas.openxmlformats.org/officeDocument/2006/relationships/slideLayout" Target="../slideLayouts/slideLayout691.xml"/><Relationship Id="rId2" Type="http://schemas.openxmlformats.org/officeDocument/2006/relationships/slideLayout" Target="../slideLayouts/slideLayout692.xml"/><Relationship Id="rId3" Type="http://schemas.openxmlformats.org/officeDocument/2006/relationships/slideLayout" Target="../slideLayouts/slideLayout693.xml"/><Relationship Id="rId4" Type="http://schemas.openxmlformats.org/officeDocument/2006/relationships/slideLayout" Target="../slideLayouts/slideLayout694.xml"/><Relationship Id="rId5" Type="http://schemas.openxmlformats.org/officeDocument/2006/relationships/slideLayout" Target="../slideLayouts/slideLayout695.xml"/><Relationship Id="rId6" Type="http://schemas.openxmlformats.org/officeDocument/2006/relationships/slideLayout" Target="../slideLayouts/slideLayout696.xml"/><Relationship Id="rId7" Type="http://schemas.openxmlformats.org/officeDocument/2006/relationships/slideLayout" Target="../slideLayouts/slideLayout697.xml"/><Relationship Id="rId8" Type="http://schemas.openxmlformats.org/officeDocument/2006/relationships/slideLayout" Target="../slideLayouts/slideLayout698.xml"/><Relationship Id="rId9" Type="http://schemas.openxmlformats.org/officeDocument/2006/relationships/slideLayout" Target="../slideLayouts/slideLayout699.xml"/><Relationship Id="rId10" Type="http://schemas.openxmlformats.org/officeDocument/2006/relationships/slideLayout" Target="../slideLayouts/slideLayout700.xml"/></Relationships>
</file>

<file path=ppt/slideMasters/_rels/slideMaster5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13.xml"/><Relationship Id="rId12" Type="http://schemas.openxmlformats.org/officeDocument/2006/relationships/slideLayout" Target="../slideLayouts/slideLayout714.xml"/><Relationship Id="rId13" Type="http://schemas.openxmlformats.org/officeDocument/2006/relationships/slideLayout" Target="../slideLayouts/slideLayout715.xml"/><Relationship Id="rId14" Type="http://schemas.openxmlformats.org/officeDocument/2006/relationships/slideLayout" Target="../slideLayouts/slideLayout716.xml"/><Relationship Id="rId15" Type="http://schemas.openxmlformats.org/officeDocument/2006/relationships/slideLayout" Target="../slideLayouts/slideLayout717.xml"/><Relationship Id="rId16" Type="http://schemas.openxmlformats.org/officeDocument/2006/relationships/slideLayout" Target="../slideLayouts/slideLayout718.xml"/><Relationship Id="rId17" Type="http://schemas.openxmlformats.org/officeDocument/2006/relationships/theme" Target="../theme/theme55.xml"/><Relationship Id="rId1" Type="http://schemas.openxmlformats.org/officeDocument/2006/relationships/slideLayout" Target="../slideLayouts/slideLayout703.xml"/><Relationship Id="rId2" Type="http://schemas.openxmlformats.org/officeDocument/2006/relationships/slideLayout" Target="../slideLayouts/slideLayout704.xml"/><Relationship Id="rId3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7.xml"/><Relationship Id="rId6" Type="http://schemas.openxmlformats.org/officeDocument/2006/relationships/slideLayout" Target="../slideLayouts/slideLayout708.xml"/><Relationship Id="rId7" Type="http://schemas.openxmlformats.org/officeDocument/2006/relationships/slideLayout" Target="../slideLayouts/slideLayout709.xml"/><Relationship Id="rId8" Type="http://schemas.openxmlformats.org/officeDocument/2006/relationships/slideLayout" Target="../slideLayouts/slideLayout710.xml"/><Relationship Id="rId9" Type="http://schemas.openxmlformats.org/officeDocument/2006/relationships/slideLayout" Target="../slideLayouts/slideLayout711.xml"/><Relationship Id="rId10" Type="http://schemas.openxmlformats.org/officeDocument/2006/relationships/slideLayout" Target="../slideLayouts/slideLayout712.xml"/></Relationships>
</file>

<file path=ppt/slideMasters/_rels/slideMaster5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29.xml"/><Relationship Id="rId12" Type="http://schemas.openxmlformats.org/officeDocument/2006/relationships/slideLayout" Target="../slideLayouts/slideLayout730.xml"/><Relationship Id="rId13" Type="http://schemas.openxmlformats.org/officeDocument/2006/relationships/slideLayout" Target="../slideLayouts/slideLayout731.xml"/><Relationship Id="rId14" Type="http://schemas.openxmlformats.org/officeDocument/2006/relationships/slideLayout" Target="../slideLayouts/slideLayout732.xml"/><Relationship Id="rId15" Type="http://schemas.openxmlformats.org/officeDocument/2006/relationships/slideLayout" Target="../slideLayouts/slideLayout733.xml"/><Relationship Id="rId16" Type="http://schemas.openxmlformats.org/officeDocument/2006/relationships/slideLayout" Target="../slideLayouts/slideLayout734.xml"/><Relationship Id="rId17" Type="http://schemas.openxmlformats.org/officeDocument/2006/relationships/theme" Target="../theme/theme56.xml"/><Relationship Id="rId1" Type="http://schemas.openxmlformats.org/officeDocument/2006/relationships/slideLayout" Target="../slideLayouts/slideLayout719.xml"/><Relationship Id="rId2" Type="http://schemas.openxmlformats.org/officeDocument/2006/relationships/slideLayout" Target="../slideLayouts/slideLayout720.xml"/><Relationship Id="rId3" Type="http://schemas.openxmlformats.org/officeDocument/2006/relationships/slideLayout" Target="../slideLayouts/slideLayout721.xml"/><Relationship Id="rId4" Type="http://schemas.openxmlformats.org/officeDocument/2006/relationships/slideLayout" Target="../slideLayouts/slideLayout722.xml"/><Relationship Id="rId5" Type="http://schemas.openxmlformats.org/officeDocument/2006/relationships/slideLayout" Target="../slideLayouts/slideLayout723.xml"/><Relationship Id="rId6" Type="http://schemas.openxmlformats.org/officeDocument/2006/relationships/slideLayout" Target="../slideLayouts/slideLayout724.xml"/><Relationship Id="rId7" Type="http://schemas.openxmlformats.org/officeDocument/2006/relationships/slideLayout" Target="../slideLayouts/slideLayout725.xml"/><Relationship Id="rId8" Type="http://schemas.openxmlformats.org/officeDocument/2006/relationships/slideLayout" Target="../slideLayouts/slideLayout726.xml"/><Relationship Id="rId9" Type="http://schemas.openxmlformats.org/officeDocument/2006/relationships/slideLayout" Target="../slideLayouts/slideLayout727.xml"/><Relationship Id="rId10" Type="http://schemas.openxmlformats.org/officeDocument/2006/relationships/slideLayout" Target="../slideLayouts/slideLayout728.xml"/></Relationships>
</file>

<file path=ppt/slideMasters/_rels/slideMaster5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46.xml"/><Relationship Id="rId13" Type="http://schemas.openxmlformats.org/officeDocument/2006/relationships/theme" Target="../theme/theme57.xml"/><Relationship Id="rId1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7.xml"/><Relationship Id="rId4" Type="http://schemas.openxmlformats.org/officeDocument/2006/relationships/slideLayout" Target="../slideLayouts/slideLayout738.xml"/><Relationship Id="rId5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0.xml"/><Relationship Id="rId7" Type="http://schemas.openxmlformats.org/officeDocument/2006/relationships/slideLayout" Target="../slideLayouts/slideLayout741.xml"/><Relationship Id="rId8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3.xml"/><Relationship Id="rId10" Type="http://schemas.openxmlformats.org/officeDocument/2006/relationships/slideLayout" Target="../slideLayouts/slideLayout744.xml"/></Relationships>
</file>

<file path=ppt/slideMasters/_rels/slideMaster5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57.xml"/><Relationship Id="rId12" Type="http://schemas.openxmlformats.org/officeDocument/2006/relationships/slideLayout" Target="../slideLayouts/slideLayout758.xml"/><Relationship Id="rId13" Type="http://schemas.openxmlformats.org/officeDocument/2006/relationships/slideLayout" Target="../slideLayouts/slideLayout759.xml"/><Relationship Id="rId14" Type="http://schemas.openxmlformats.org/officeDocument/2006/relationships/theme" Target="../theme/theme58.xml"/><Relationship Id="rId1" Type="http://schemas.openxmlformats.org/officeDocument/2006/relationships/slideLayout" Target="../slideLayouts/slideLayout747.xml"/><Relationship Id="rId2" Type="http://schemas.openxmlformats.org/officeDocument/2006/relationships/slideLayout" Target="../slideLayouts/slideLayout748.xml"/><Relationship Id="rId3" Type="http://schemas.openxmlformats.org/officeDocument/2006/relationships/slideLayout" Target="../slideLayouts/slideLayout749.xml"/><Relationship Id="rId4" Type="http://schemas.openxmlformats.org/officeDocument/2006/relationships/slideLayout" Target="../slideLayouts/slideLayout750.xml"/><Relationship Id="rId5" Type="http://schemas.openxmlformats.org/officeDocument/2006/relationships/slideLayout" Target="../slideLayouts/slideLayout751.xml"/><Relationship Id="rId6" Type="http://schemas.openxmlformats.org/officeDocument/2006/relationships/slideLayout" Target="../slideLayouts/slideLayout752.xml"/><Relationship Id="rId7" Type="http://schemas.openxmlformats.org/officeDocument/2006/relationships/slideLayout" Target="../slideLayouts/slideLayout753.xml"/><Relationship Id="rId8" Type="http://schemas.openxmlformats.org/officeDocument/2006/relationships/slideLayout" Target="../slideLayouts/slideLayout754.xml"/><Relationship Id="rId9" Type="http://schemas.openxmlformats.org/officeDocument/2006/relationships/slideLayout" Target="../slideLayouts/slideLayout755.xml"/><Relationship Id="rId10" Type="http://schemas.openxmlformats.org/officeDocument/2006/relationships/slideLayout" Target="../slideLayouts/slideLayout756.xml"/></Relationships>
</file>

<file path=ppt/slideMasters/_rels/slideMaster5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70.xml"/><Relationship Id="rId12" Type="http://schemas.openxmlformats.org/officeDocument/2006/relationships/slideLayout" Target="../slideLayouts/slideLayout771.xml"/><Relationship Id="rId13" Type="http://schemas.openxmlformats.org/officeDocument/2006/relationships/slideLayout" Target="../slideLayouts/slideLayout772.xml"/><Relationship Id="rId14" Type="http://schemas.openxmlformats.org/officeDocument/2006/relationships/slideLayout" Target="../slideLayouts/slideLayout773.xml"/><Relationship Id="rId15" Type="http://schemas.openxmlformats.org/officeDocument/2006/relationships/theme" Target="../theme/theme59.xml"/><Relationship Id="rId1" Type="http://schemas.openxmlformats.org/officeDocument/2006/relationships/slideLayout" Target="../slideLayouts/slideLayout760.xml"/><Relationship Id="rId2" Type="http://schemas.openxmlformats.org/officeDocument/2006/relationships/slideLayout" Target="../slideLayouts/slideLayout761.xml"/><Relationship Id="rId3" Type="http://schemas.openxmlformats.org/officeDocument/2006/relationships/slideLayout" Target="../slideLayouts/slideLayout762.xml"/><Relationship Id="rId4" Type="http://schemas.openxmlformats.org/officeDocument/2006/relationships/slideLayout" Target="../slideLayouts/slideLayout763.xml"/><Relationship Id="rId5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5.xml"/><Relationship Id="rId7" Type="http://schemas.openxmlformats.org/officeDocument/2006/relationships/slideLayout" Target="../slideLayouts/slideLayout766.xml"/><Relationship Id="rId8" Type="http://schemas.openxmlformats.org/officeDocument/2006/relationships/slideLayout" Target="../slideLayouts/slideLayout767.xml"/><Relationship Id="rId9" Type="http://schemas.openxmlformats.org/officeDocument/2006/relationships/slideLayout" Target="../slideLayouts/slideLayout768.xml"/><Relationship Id="rId10" Type="http://schemas.openxmlformats.org/officeDocument/2006/relationships/slideLayout" Target="../slideLayouts/slideLayout769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87.xml"/><Relationship Id="rId17" Type="http://schemas.openxmlformats.org/officeDocument/2006/relationships/theme" Target="../theme/theme6.xml"/><Relationship Id="rId1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3.xml"/><Relationship Id="rId3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7.xml"/><Relationship Id="rId7" Type="http://schemas.openxmlformats.org/officeDocument/2006/relationships/slideLayout" Target="../slideLayouts/slideLayout78.xml"/><Relationship Id="rId8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1.xml"/></Relationships>
</file>

<file path=ppt/slideMasters/_rels/slideMaster6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84.xml"/><Relationship Id="rId12" Type="http://schemas.openxmlformats.org/officeDocument/2006/relationships/slideLayout" Target="../slideLayouts/slideLayout785.xml"/><Relationship Id="rId13" Type="http://schemas.openxmlformats.org/officeDocument/2006/relationships/slideLayout" Target="../slideLayouts/slideLayout786.xml"/><Relationship Id="rId14" Type="http://schemas.openxmlformats.org/officeDocument/2006/relationships/slideLayout" Target="../slideLayouts/slideLayout787.xml"/><Relationship Id="rId15" Type="http://schemas.openxmlformats.org/officeDocument/2006/relationships/theme" Target="../theme/theme60.xml"/><Relationship Id="rId1" Type="http://schemas.openxmlformats.org/officeDocument/2006/relationships/slideLayout" Target="../slideLayouts/slideLayout774.xml"/><Relationship Id="rId2" Type="http://schemas.openxmlformats.org/officeDocument/2006/relationships/slideLayout" Target="../slideLayouts/slideLayout775.xml"/><Relationship Id="rId3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8.xml"/><Relationship Id="rId6" Type="http://schemas.openxmlformats.org/officeDocument/2006/relationships/slideLayout" Target="../slideLayouts/slideLayout779.xml"/><Relationship Id="rId7" Type="http://schemas.openxmlformats.org/officeDocument/2006/relationships/slideLayout" Target="../slideLayouts/slideLayout780.xml"/><Relationship Id="rId8" Type="http://schemas.openxmlformats.org/officeDocument/2006/relationships/slideLayout" Target="../slideLayouts/slideLayout781.xml"/><Relationship Id="rId9" Type="http://schemas.openxmlformats.org/officeDocument/2006/relationships/slideLayout" Target="../slideLayouts/slideLayout782.xml"/><Relationship Id="rId10" Type="http://schemas.openxmlformats.org/officeDocument/2006/relationships/slideLayout" Target="../slideLayouts/slideLayout783.xml"/></Relationships>
</file>

<file path=ppt/slideMasters/_rels/slideMaster6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98.xml"/><Relationship Id="rId12" Type="http://schemas.openxmlformats.org/officeDocument/2006/relationships/slideLayout" Target="../slideLayouts/slideLayout799.xml"/><Relationship Id="rId13" Type="http://schemas.openxmlformats.org/officeDocument/2006/relationships/slideLayout" Target="../slideLayouts/slideLayout800.xml"/><Relationship Id="rId14" Type="http://schemas.openxmlformats.org/officeDocument/2006/relationships/theme" Target="../theme/theme61.xml"/><Relationship Id="rId1" Type="http://schemas.openxmlformats.org/officeDocument/2006/relationships/slideLayout" Target="../slideLayouts/slideLayout788.xml"/><Relationship Id="rId2" Type="http://schemas.openxmlformats.org/officeDocument/2006/relationships/slideLayout" Target="../slideLayouts/slideLayout789.xml"/><Relationship Id="rId3" Type="http://schemas.openxmlformats.org/officeDocument/2006/relationships/slideLayout" Target="../slideLayouts/slideLayout790.xml"/><Relationship Id="rId4" Type="http://schemas.openxmlformats.org/officeDocument/2006/relationships/slideLayout" Target="../slideLayouts/slideLayout791.xml"/><Relationship Id="rId5" Type="http://schemas.openxmlformats.org/officeDocument/2006/relationships/slideLayout" Target="../slideLayouts/slideLayout792.xml"/><Relationship Id="rId6" Type="http://schemas.openxmlformats.org/officeDocument/2006/relationships/slideLayout" Target="../slideLayouts/slideLayout793.xml"/><Relationship Id="rId7" Type="http://schemas.openxmlformats.org/officeDocument/2006/relationships/slideLayout" Target="../slideLayouts/slideLayout794.xml"/><Relationship Id="rId8" Type="http://schemas.openxmlformats.org/officeDocument/2006/relationships/slideLayout" Target="../slideLayouts/slideLayout795.xml"/><Relationship Id="rId9" Type="http://schemas.openxmlformats.org/officeDocument/2006/relationships/slideLayout" Target="../slideLayouts/slideLayout796.xml"/><Relationship Id="rId10" Type="http://schemas.openxmlformats.org/officeDocument/2006/relationships/slideLayout" Target="../slideLayouts/slideLayout797.xml"/></Relationships>
</file>

<file path=ppt/slideMasters/_rels/slideMaster6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11.xml"/><Relationship Id="rId12" Type="http://schemas.openxmlformats.org/officeDocument/2006/relationships/slideLayout" Target="../slideLayouts/slideLayout812.xml"/><Relationship Id="rId13" Type="http://schemas.openxmlformats.org/officeDocument/2006/relationships/slideLayout" Target="../slideLayouts/slideLayout813.xml"/><Relationship Id="rId14" Type="http://schemas.openxmlformats.org/officeDocument/2006/relationships/theme" Target="../theme/theme62.xml"/><Relationship Id="rId1" Type="http://schemas.openxmlformats.org/officeDocument/2006/relationships/slideLayout" Target="../slideLayouts/slideLayout801.xml"/><Relationship Id="rId2" Type="http://schemas.openxmlformats.org/officeDocument/2006/relationships/slideLayout" Target="../slideLayouts/slideLayout802.xml"/><Relationship Id="rId3" Type="http://schemas.openxmlformats.org/officeDocument/2006/relationships/slideLayout" Target="../slideLayouts/slideLayout803.xml"/><Relationship Id="rId4" Type="http://schemas.openxmlformats.org/officeDocument/2006/relationships/slideLayout" Target="../slideLayouts/slideLayout804.xml"/><Relationship Id="rId5" Type="http://schemas.openxmlformats.org/officeDocument/2006/relationships/slideLayout" Target="../slideLayouts/slideLayout805.xml"/><Relationship Id="rId6" Type="http://schemas.openxmlformats.org/officeDocument/2006/relationships/slideLayout" Target="../slideLayouts/slideLayout806.xml"/><Relationship Id="rId7" Type="http://schemas.openxmlformats.org/officeDocument/2006/relationships/slideLayout" Target="../slideLayouts/slideLayout807.xml"/><Relationship Id="rId8" Type="http://schemas.openxmlformats.org/officeDocument/2006/relationships/slideLayout" Target="../slideLayouts/slideLayout808.xml"/><Relationship Id="rId9" Type="http://schemas.openxmlformats.org/officeDocument/2006/relationships/slideLayout" Target="../slideLayouts/slideLayout809.xml"/><Relationship Id="rId10" Type="http://schemas.openxmlformats.org/officeDocument/2006/relationships/slideLayout" Target="../slideLayouts/slideLayout810.xml"/></Relationships>
</file>

<file path=ppt/slideMasters/_rels/slideMaster6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24.xml"/><Relationship Id="rId12" Type="http://schemas.openxmlformats.org/officeDocument/2006/relationships/slideLayout" Target="../slideLayouts/slideLayout825.xml"/><Relationship Id="rId13" Type="http://schemas.openxmlformats.org/officeDocument/2006/relationships/slideLayout" Target="../slideLayouts/slideLayout826.xml"/><Relationship Id="rId14" Type="http://schemas.openxmlformats.org/officeDocument/2006/relationships/slideLayout" Target="../slideLayouts/slideLayout827.xml"/><Relationship Id="rId15" Type="http://schemas.openxmlformats.org/officeDocument/2006/relationships/theme" Target="../theme/theme63.xml"/><Relationship Id="rId1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6.xml"/><Relationship Id="rId4" Type="http://schemas.openxmlformats.org/officeDocument/2006/relationships/slideLayout" Target="../slideLayouts/slideLayout817.xml"/><Relationship Id="rId5" Type="http://schemas.openxmlformats.org/officeDocument/2006/relationships/slideLayout" Target="../slideLayouts/slideLayout818.xml"/><Relationship Id="rId6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0.xml"/><Relationship Id="rId8" Type="http://schemas.openxmlformats.org/officeDocument/2006/relationships/slideLayout" Target="../slideLayouts/slideLayout821.xml"/><Relationship Id="rId9" Type="http://schemas.openxmlformats.org/officeDocument/2006/relationships/slideLayout" Target="../slideLayouts/slideLayout822.xml"/><Relationship Id="rId10" Type="http://schemas.openxmlformats.org/officeDocument/2006/relationships/slideLayout" Target="../slideLayouts/slideLayout823.xml"/></Relationships>
</file>

<file path=ppt/slideMasters/_rels/slideMaster6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38.xml"/><Relationship Id="rId12" Type="http://schemas.openxmlformats.org/officeDocument/2006/relationships/slideLayout" Target="../slideLayouts/slideLayout839.xml"/><Relationship Id="rId13" Type="http://schemas.openxmlformats.org/officeDocument/2006/relationships/slideLayout" Target="../slideLayouts/slideLayout840.xml"/><Relationship Id="rId14" Type="http://schemas.openxmlformats.org/officeDocument/2006/relationships/slideLayout" Target="../slideLayouts/slideLayout841.xml"/><Relationship Id="rId15" Type="http://schemas.openxmlformats.org/officeDocument/2006/relationships/slideLayout" Target="../slideLayouts/slideLayout842.xml"/><Relationship Id="rId16" Type="http://schemas.openxmlformats.org/officeDocument/2006/relationships/slideLayout" Target="../slideLayouts/slideLayout843.xml"/><Relationship Id="rId17" Type="http://schemas.openxmlformats.org/officeDocument/2006/relationships/slideLayout" Target="../slideLayouts/slideLayout844.xml"/><Relationship Id="rId18" Type="http://schemas.openxmlformats.org/officeDocument/2006/relationships/slideLayout" Target="../slideLayouts/slideLayout845.xml"/><Relationship Id="rId19" Type="http://schemas.openxmlformats.org/officeDocument/2006/relationships/theme" Target="../theme/theme64.xml"/><Relationship Id="rId1" Type="http://schemas.openxmlformats.org/officeDocument/2006/relationships/slideLayout" Target="../slideLayouts/slideLayout828.xml"/><Relationship Id="rId2" Type="http://schemas.openxmlformats.org/officeDocument/2006/relationships/slideLayout" Target="../slideLayouts/slideLayout829.xml"/><Relationship Id="rId3" Type="http://schemas.openxmlformats.org/officeDocument/2006/relationships/slideLayout" Target="../slideLayouts/slideLayout830.xml"/><Relationship Id="rId4" Type="http://schemas.openxmlformats.org/officeDocument/2006/relationships/slideLayout" Target="../slideLayouts/slideLayout831.xml"/><Relationship Id="rId5" Type="http://schemas.openxmlformats.org/officeDocument/2006/relationships/slideLayout" Target="../slideLayouts/slideLayout832.xml"/><Relationship Id="rId6" Type="http://schemas.openxmlformats.org/officeDocument/2006/relationships/slideLayout" Target="../slideLayouts/slideLayout833.xml"/><Relationship Id="rId7" Type="http://schemas.openxmlformats.org/officeDocument/2006/relationships/slideLayout" Target="../slideLayouts/slideLayout834.xml"/><Relationship Id="rId8" Type="http://schemas.openxmlformats.org/officeDocument/2006/relationships/slideLayout" Target="../slideLayouts/slideLayout835.xml"/><Relationship Id="rId9" Type="http://schemas.openxmlformats.org/officeDocument/2006/relationships/slideLayout" Target="../slideLayouts/slideLayout836.xml"/><Relationship Id="rId10" Type="http://schemas.openxmlformats.org/officeDocument/2006/relationships/slideLayout" Target="../slideLayouts/slideLayout837.xml"/></Relationships>
</file>

<file path=ppt/slideMasters/_rels/slideMaster6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56.xml"/><Relationship Id="rId12" Type="http://schemas.openxmlformats.org/officeDocument/2006/relationships/theme" Target="../theme/theme65.xml"/><Relationship Id="rId1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7.xml"/><Relationship Id="rId3" Type="http://schemas.openxmlformats.org/officeDocument/2006/relationships/slideLayout" Target="../slideLayouts/slideLayout848.xml"/><Relationship Id="rId4" Type="http://schemas.openxmlformats.org/officeDocument/2006/relationships/slideLayout" Target="../slideLayouts/slideLayout849.xml"/><Relationship Id="rId5" Type="http://schemas.openxmlformats.org/officeDocument/2006/relationships/slideLayout" Target="../slideLayouts/slideLayout850.xml"/><Relationship Id="rId6" Type="http://schemas.openxmlformats.org/officeDocument/2006/relationships/slideLayout" Target="../slideLayouts/slideLayout851.xml"/><Relationship Id="rId7" Type="http://schemas.openxmlformats.org/officeDocument/2006/relationships/slideLayout" Target="../slideLayouts/slideLayout852.xml"/><Relationship Id="rId8" Type="http://schemas.openxmlformats.org/officeDocument/2006/relationships/slideLayout" Target="../slideLayouts/slideLayout853.xml"/><Relationship Id="rId9" Type="http://schemas.openxmlformats.org/officeDocument/2006/relationships/slideLayout" Target="../slideLayouts/slideLayout854.xml"/><Relationship Id="rId10" Type="http://schemas.openxmlformats.org/officeDocument/2006/relationships/slideLayout" Target="../slideLayouts/slideLayout855.xml"/></Relationships>
</file>

<file path=ppt/slideMasters/_rels/slideMaster6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67.xml"/><Relationship Id="rId12" Type="http://schemas.openxmlformats.org/officeDocument/2006/relationships/slideLayout" Target="../slideLayouts/slideLayout868.xml"/><Relationship Id="rId13" Type="http://schemas.openxmlformats.org/officeDocument/2006/relationships/theme" Target="../theme/theme66.xml"/><Relationship Id="rId1" Type="http://schemas.openxmlformats.org/officeDocument/2006/relationships/slideLayout" Target="../slideLayouts/slideLayout857.xml"/><Relationship Id="rId2" Type="http://schemas.openxmlformats.org/officeDocument/2006/relationships/slideLayout" Target="../slideLayouts/slideLayout858.xml"/><Relationship Id="rId3" Type="http://schemas.openxmlformats.org/officeDocument/2006/relationships/slideLayout" Target="../slideLayouts/slideLayout859.xml"/><Relationship Id="rId4" Type="http://schemas.openxmlformats.org/officeDocument/2006/relationships/slideLayout" Target="../slideLayouts/slideLayout860.xml"/><Relationship Id="rId5" Type="http://schemas.openxmlformats.org/officeDocument/2006/relationships/slideLayout" Target="../slideLayouts/slideLayout861.xml"/><Relationship Id="rId6" Type="http://schemas.openxmlformats.org/officeDocument/2006/relationships/slideLayout" Target="../slideLayouts/slideLayout862.xml"/><Relationship Id="rId7" Type="http://schemas.openxmlformats.org/officeDocument/2006/relationships/slideLayout" Target="../slideLayouts/slideLayout863.xml"/><Relationship Id="rId8" Type="http://schemas.openxmlformats.org/officeDocument/2006/relationships/slideLayout" Target="../slideLayouts/slideLayout864.xml"/><Relationship Id="rId9" Type="http://schemas.openxmlformats.org/officeDocument/2006/relationships/slideLayout" Target="../slideLayouts/slideLayout865.xml"/><Relationship Id="rId10" Type="http://schemas.openxmlformats.org/officeDocument/2006/relationships/slideLayout" Target="../slideLayouts/slideLayout866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99.xml"/><Relationship Id="rId13" Type="http://schemas.openxmlformats.org/officeDocument/2006/relationships/theme" Target="../theme/theme7.xml"/><Relationship Id="rId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9.xml"/><Relationship Id="rId3" Type="http://schemas.openxmlformats.org/officeDocument/2006/relationships/slideLayout" Target="../slideLayouts/slideLayout90.xml"/><Relationship Id="rId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4.xml"/><Relationship Id="rId8" Type="http://schemas.openxmlformats.org/officeDocument/2006/relationships/slideLayout" Target="../slideLayouts/slideLayout95.xml"/><Relationship Id="rId9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1.xml"/><Relationship Id="rId13" Type="http://schemas.openxmlformats.org/officeDocument/2006/relationships/theme" Target="../theme/theme8.xml"/><Relationship Id="rId1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9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3.xml"/><Relationship Id="rId13" Type="http://schemas.openxmlformats.org/officeDocument/2006/relationships/theme" Target="../theme/theme9.xml"/><Relationship Id="rId1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898" y="9062734"/>
            <a:ext cx="248344" cy="647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40"/>
            <a:ext cx="598310" cy="34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589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445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56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14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71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27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641" indent="-22864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326" indent="-29929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312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1410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4417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441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7239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2923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38641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4336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677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41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108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2782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8488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417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09869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5541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2" y="9062732"/>
            <a:ext cx="249553" cy="648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8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996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6284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864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73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590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45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722" indent="-2297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993" indent="-3007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3073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7358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1414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141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3012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41657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60291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8929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864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735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590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454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319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11783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30443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905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6"/>
            <a:ext cx="249772" cy="648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645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916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83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742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65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909" indent="-2299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9624" indent="-3009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3893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8382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2620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262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5736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44888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64023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83172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9160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8382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7426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6566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5731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14821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33992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53104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21" y="9062728"/>
            <a:ext cx="248657" cy="64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7890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4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9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93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58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920" indent="-22892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271" indent="-29966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9541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946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6214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621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1301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7749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4218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0667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441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946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937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581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2277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871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516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160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1" y="9062726"/>
            <a:ext cx="250139" cy="648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6222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0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17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00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01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234" indent="-23023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0727" indent="-3014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326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174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4730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473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0515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0544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0570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0609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056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174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0094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0130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0163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0152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0205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0203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0"/>
            <a:ext cx="250194" cy="648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9764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  <p:sldLayoutId id="2147484200" r:id="rId10"/>
    <p:sldLayoutId id="2147484201" r:id="rId11"/>
    <p:sldLayoutId id="2147484202" r:id="rId12"/>
    <p:sldLayoutId id="2147484204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1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4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04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06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281" indent="-2302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0885" indent="-3014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531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430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5032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503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1198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1352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1505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1673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184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430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0475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0642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0796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0915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1093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1217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3"/>
            <a:ext cx="250288" cy="648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8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101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  <p:sldLayoutId id="2147484252" r:id="rId6"/>
    <p:sldLayoutId id="2147484253" r:id="rId7"/>
    <p:sldLayoutId id="2147484254" r:id="rId8"/>
    <p:sldLayoutId id="2147484255" r:id="rId9"/>
    <p:sldLayoutId id="2147484256" r:id="rId10"/>
    <p:sldLayoutId id="2147484257" r:id="rId11"/>
    <p:sldLayoutId id="2147484258" r:id="rId12"/>
    <p:sldLayoutId id="2147484260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4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9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12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16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374" indent="-230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1202" indent="-3015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941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942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5635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5635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2563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2969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3376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3800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440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942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1237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1666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2063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2439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2871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3245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4"/>
            <a:ext cx="250657" cy="64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9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917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300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13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27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390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52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701" indent="-23070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2311" indent="-3020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7374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2734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7747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774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734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862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9933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0124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133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734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390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524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648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777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09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036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732"/>
            <a:ext cx="248956" cy="64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800"/>
            <a:ext cx="7065941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99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9" r:id="rId13"/>
    <p:sldLayoutId id="2147484371" r:id="rId14"/>
    <p:sldLayoutId id="2147484376" r:id="rId15"/>
    <p:sldLayoutId id="2147484380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17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44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15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87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188" indent="-229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7177" indent="-30002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0718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4414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7946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794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5199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2373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9564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6749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176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4414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1541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719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5908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3065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251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7412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58" y="9062727"/>
            <a:ext cx="251133" cy="648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364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6" r:id="rId1"/>
    <p:sldLayoutId id="2147484397" r:id="rId2"/>
    <p:sldLayoutId id="2147484398" r:id="rId3"/>
    <p:sldLayoutId id="2147484399" r:id="rId4"/>
    <p:sldLayoutId id="2147484400" r:id="rId5"/>
    <p:sldLayoutId id="2147484401" r:id="rId6"/>
    <p:sldLayoutId id="2147484402" r:id="rId7"/>
    <p:sldLayoutId id="2147484403" r:id="rId8"/>
    <p:sldLayoutId id="2147484404" r:id="rId9"/>
    <p:sldLayoutId id="2147484405" r:id="rId10"/>
    <p:sldLayoutId id="2147484406" r:id="rId11"/>
    <p:sldLayoutId id="214748440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48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0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73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98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123" indent="-2311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3744" indent="-302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232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038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0479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047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3486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5910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88387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0826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488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038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7341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9854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2220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4697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7112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9537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48" y="9062724"/>
            <a:ext cx="251243" cy="64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583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20" r:id="rId11"/>
    <p:sldLayoutId id="2147484421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7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55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10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08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21" indent="-23122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062" indent="-30272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645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550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073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07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4862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7531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0264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2957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744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550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109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0878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3494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6233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8897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1585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30"/>
            <a:ext cx="248412" cy="64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956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58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17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75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341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698" indent="-22869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528" indent="-29937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568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1730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4791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479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8086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3929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39803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5653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837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73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58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3413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9278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5116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0971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6802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3"/>
            <a:ext cx="251506" cy="64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30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0" r:id="rId1"/>
    <p:sldLayoutId id="2147484531" r:id="rId2"/>
    <p:sldLayoutId id="2147484532" r:id="rId3"/>
    <p:sldLayoutId id="2147484533" r:id="rId4"/>
    <p:sldLayoutId id="2147484534" r:id="rId5"/>
    <p:sldLayoutId id="2147484535" r:id="rId6"/>
    <p:sldLayoutId id="2147484536" r:id="rId7"/>
    <p:sldLayoutId id="2147484537" r:id="rId8"/>
    <p:sldLayoutId id="2147484538" r:id="rId9"/>
    <p:sldLayoutId id="2147484539" r:id="rId10"/>
    <p:sldLayoutId id="2147484540" r:id="rId11"/>
    <p:sldLayoutId id="2147484541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341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68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012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35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472" indent="-23147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898" indent="-3030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0731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6894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2668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266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8463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71801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5189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8555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341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6894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0125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356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6839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40265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358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6957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22279" tIns="61241" rIns="122279" bIns="6124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22279" tIns="61241" rIns="122279" bIns="6124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1771"/>
            <a:ext cx="292608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fld id="{149C7C40-21D0-4B28-BAA6-56997D200CD9}" type="datetime1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2954" hangingPunct="1"/>
              <a:t>3/19/18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1771"/>
            <a:ext cx="438912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1771"/>
            <a:ext cx="292608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2954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293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625" r:id="rId2"/>
    <p:sldLayoutId id="2147484626" r:id="rId3"/>
    <p:sldLayoutId id="2147484627" r:id="rId4"/>
    <p:sldLayoutId id="2147484628" r:id="rId5"/>
    <p:sldLayoutId id="2147484629" r:id="rId6"/>
    <p:sldLayoutId id="2147484630" r:id="rId7"/>
    <p:sldLayoutId id="2147484631" r:id="rId8"/>
    <p:sldLayoutId id="2147484632" r:id="rId9"/>
    <p:sldLayoutId id="2147484633" r:id="rId10"/>
    <p:sldLayoutId id="2147484634" r:id="rId11"/>
    <p:sldLayoutId id="2147484635" r:id="rId12"/>
    <p:sldLayoutId id="2147484636" r:id="rId13"/>
    <p:sldLayoutId id="2147484637" r:id="rId14"/>
    <p:sldLayoutId id="2147484638" r:id="rId15"/>
    <p:sldLayoutId id="2147484639" r:id="rId16"/>
    <p:sldLayoutId id="2147484640" r:id="rId17"/>
    <p:sldLayoutId id="2147484641" r:id="rId18"/>
  </p:sldLayoutIdLst>
  <p:hf hdr="0" ftr="0" dt="0"/>
  <p:txStyles>
    <p:titleStyle>
      <a:lvl1pPr algn="l" defTabSz="1225888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06323" indent="-306323" algn="l" defTabSz="1225888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19511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32398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14538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75833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371300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84234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9722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1017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2954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5888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38907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1856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64795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77745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0739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03657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3755"/>
            <a:ext cx="247704" cy="647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991"/>
            <a:ext cx="7065941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4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0515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4" r:id="rId1"/>
    <p:sldLayoutId id="2147484715" r:id="rId2"/>
    <p:sldLayoutId id="2147484716" r:id="rId3"/>
    <p:sldLayoutId id="2147484717" r:id="rId4"/>
    <p:sldLayoutId id="2147484718" r:id="rId5"/>
    <p:sldLayoutId id="2147484719" r:id="rId6"/>
    <p:sldLayoutId id="2147484720" r:id="rId7"/>
    <p:sldLayoutId id="2147484721" r:id="rId8"/>
    <p:sldLayoutId id="2147484722" r:id="rId9"/>
    <p:sldLayoutId id="2147484723" r:id="rId10"/>
    <p:sldLayoutId id="2147484724" r:id="rId11"/>
    <p:sldLayoutId id="2147484725" r:id="rId12"/>
    <p:sldLayoutId id="2147484727" r:id="rId13"/>
    <p:sldLayoutId id="2147484729" r:id="rId14"/>
    <p:sldLayoutId id="2147484734" r:id="rId15"/>
    <p:sldLayoutId id="2147484738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414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2827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24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5662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070" indent="-22807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3401" indent="-29853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5792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28274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0769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076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298946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13097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27275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41435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4143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8274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2487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6626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0770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84913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9075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13205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31" y="9062739"/>
            <a:ext cx="247324" cy="647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978"/>
            <a:ext cx="7065941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5"/>
            <a:ext cx="598310" cy="34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5410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9" r:id="rId1"/>
    <p:sldLayoutId id="2147484820" r:id="rId2"/>
    <p:sldLayoutId id="2147484821" r:id="rId3"/>
    <p:sldLayoutId id="2147484822" r:id="rId4"/>
    <p:sldLayoutId id="2147484823" r:id="rId5"/>
    <p:sldLayoutId id="2147484824" r:id="rId6"/>
    <p:sldLayoutId id="2147484825" r:id="rId7"/>
    <p:sldLayoutId id="2147484826" r:id="rId8"/>
    <p:sldLayoutId id="2147484827" r:id="rId9"/>
    <p:sldLayoutId id="2147484828" r:id="rId10"/>
    <p:sldLayoutId id="2147484829" r:id="rId11"/>
    <p:sldLayoutId id="2147484830" r:id="rId12"/>
    <p:sldLayoutId id="2147484832" r:id="rId13"/>
    <p:sldLayoutId id="2147484834" r:id="rId14"/>
    <p:sldLayoutId id="2147484839" r:id="rId15"/>
    <p:sldLayoutId id="214748484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32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2645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397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529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7738" indent="-22773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2259" indent="-29808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4310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26451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58620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5862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294060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07283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20555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33805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3236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6451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39754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2986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66208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79443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2712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05917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3" y="9062724"/>
            <a:ext cx="252268" cy="64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81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2" r:id="rId1"/>
    <p:sldLayoutId id="2147485033" r:id="rId2"/>
    <p:sldLayoutId id="2147485034" r:id="rId3"/>
    <p:sldLayoutId id="2147485035" r:id="rId4"/>
    <p:sldLayoutId id="2147485036" r:id="rId5"/>
    <p:sldLayoutId id="2147485037" r:id="rId6"/>
    <p:sldLayoutId id="2147485038" r:id="rId7"/>
    <p:sldLayoutId id="2147485039" r:id="rId8"/>
    <p:sldLayoutId id="2147485040" r:id="rId9"/>
    <p:sldLayoutId id="2147485041" r:id="rId10"/>
    <p:sldLayoutId id="2147485042" r:id="rId11"/>
    <p:sldLayoutId id="2147485043" r:id="rId12"/>
    <p:sldLayoutId id="2147485045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2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06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56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09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168" indent="-23216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201" indent="-30396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3729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0606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092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09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8429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3609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08875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4071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272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0606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5693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0990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6119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1401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6567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1832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1" y="9062723"/>
            <a:ext cx="252377" cy="649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5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2360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4" r:id="rId1"/>
    <p:sldLayoutId id="2147485075" r:id="rId2"/>
    <p:sldLayoutId id="2147485076" r:id="rId3"/>
    <p:sldLayoutId id="2147485077" r:id="rId4"/>
    <p:sldLayoutId id="2147485078" r:id="rId5"/>
    <p:sldLayoutId id="2147485079" r:id="rId6"/>
    <p:sldLayoutId id="2147485080" r:id="rId7"/>
    <p:sldLayoutId id="2147485081" r:id="rId8"/>
    <p:sldLayoutId id="2147485082" r:id="rId9"/>
    <p:sldLayoutId id="2147485083" r:id="rId10"/>
    <p:sldLayoutId id="2147485084" r:id="rId11"/>
    <p:sldLayoutId id="2147485085" r:id="rId12"/>
    <p:sldLayoutId id="214748508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1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646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20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264" indent="-2322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527" indent="-3040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142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118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702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70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9805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5243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0764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6218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528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118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461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2014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7399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2937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8359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3853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6" y="9062726"/>
            <a:ext cx="262460" cy="654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5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3984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  <p:sldLayoutId id="2147485101" r:id="rId12"/>
    <p:sldLayoutId id="2147485103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5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2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665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227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287" indent="-2322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606" indent="-30411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245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246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854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85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0149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5652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1236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6755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592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246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653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2270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7719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3321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8807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4365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2" y="9063769"/>
            <a:ext cx="251302" cy="64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1"/>
            <a:ext cx="598310" cy="349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903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5" r:id="rId1"/>
    <p:sldLayoutId id="2147485136" r:id="rId2"/>
    <p:sldLayoutId id="2147485137" r:id="rId3"/>
    <p:sldLayoutId id="2147485138" r:id="rId4"/>
    <p:sldLayoutId id="2147485139" r:id="rId5"/>
    <p:sldLayoutId id="2147485140" r:id="rId6"/>
    <p:sldLayoutId id="2147485141" r:id="rId7"/>
    <p:sldLayoutId id="2147485142" r:id="rId8"/>
    <p:sldLayoutId id="2147485143" r:id="rId9"/>
    <p:sldLayoutId id="2147485144" r:id="rId10"/>
    <p:sldLayoutId id="2147485145" r:id="rId11"/>
    <p:sldLayoutId id="2147485146" r:id="rId12"/>
    <p:sldLayoutId id="214748514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9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9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68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6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92" indent="-2312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301" indent="-3028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955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934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528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52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886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750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1672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4556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93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934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685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64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4450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7385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023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3121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4"/>
            <a:ext cx="251275" cy="64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9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640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5" r:id="rId1"/>
    <p:sldLayoutId id="2147485206" r:id="rId2"/>
    <p:sldLayoutId id="2147485207" r:id="rId3"/>
    <p:sldLayoutId id="2147485208" r:id="rId4"/>
    <p:sldLayoutId id="2147485209" r:id="rId5"/>
    <p:sldLayoutId id="2147485210" r:id="rId6"/>
    <p:sldLayoutId id="2147485211" r:id="rId7"/>
    <p:sldLayoutId id="2147485212" r:id="rId8"/>
    <p:sldLayoutId id="2147485213" r:id="rId9"/>
    <p:sldLayoutId id="2147485214" r:id="rId10"/>
    <p:sldLayoutId id="2147485215" r:id="rId11"/>
    <p:sldLayoutId id="2147485216" r:id="rId12"/>
    <p:sldLayoutId id="214748521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8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7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39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26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57" indent="-2312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182" indent="-30277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800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742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300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30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378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140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0968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3757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840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74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397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26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397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6809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9566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2353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1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3636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6" r:id="rId1"/>
    <p:sldLayoutId id="2147485247" r:id="rId2"/>
    <p:sldLayoutId id="2147485248" r:id="rId3"/>
    <p:sldLayoutId id="2147485249" r:id="rId4"/>
    <p:sldLayoutId id="2147485250" r:id="rId5"/>
    <p:sldLayoutId id="2147485251" r:id="rId6"/>
    <p:sldLayoutId id="2147485252" r:id="rId7"/>
    <p:sldLayoutId id="2147485253" r:id="rId8"/>
    <p:sldLayoutId id="2147485254" r:id="rId9"/>
    <p:sldLayoutId id="2147485255" r:id="rId10"/>
    <p:sldLayoutId id="2147485256" r:id="rId11"/>
    <p:sldLayoutId id="2147485257" r:id="rId12"/>
    <p:sldLayoutId id="214748525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8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8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4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397" indent="-2323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958" indent="-30425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710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822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541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54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1698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490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361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169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88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8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7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4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15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03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0823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666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43" y="9062723"/>
            <a:ext cx="248506" cy="647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5"/>
            <a:ext cx="598310" cy="348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3364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2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06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1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82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42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781" indent="-2287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799" indent="-29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926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178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5313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531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9270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5336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1430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7497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061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178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824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4294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0383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644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2514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57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0" y="9062721"/>
            <a:ext cx="251288" cy="648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366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  <p:sldLayoutId id="2147485322" r:id="rId10"/>
    <p:sldLayoutId id="2147485323" r:id="rId11"/>
    <p:sldLayoutId id="2147485324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8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8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4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3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68" indent="-23126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222" indent="-3027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852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806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388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38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54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34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120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402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872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806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493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39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4132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7001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979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2609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4"/>
            <a:ext cx="251793" cy="649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3526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  <p:sldLayoutId id="2147485355" r:id="rId5"/>
    <p:sldLayoutId id="2147485356" r:id="rId6"/>
    <p:sldLayoutId id="2147485357" r:id="rId7"/>
    <p:sldLayoutId id="2147485358" r:id="rId8"/>
    <p:sldLayoutId id="2147485359" r:id="rId9"/>
    <p:sldLayoutId id="2147485360" r:id="rId10"/>
    <p:sldLayoutId id="2147485361" r:id="rId11"/>
    <p:sldLayoutId id="2147485362" r:id="rId12"/>
    <p:sldLayoutId id="2147485364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41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830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22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63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735" indent="-2317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5775" indent="-30339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1867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8302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4344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434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2249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76275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00376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24437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4120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8302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2237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6382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0359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44489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8503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92616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1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/>
                <a:ea typeface="ヒラギノ角ゴ Pro W3"/>
              </a:rPr>
              <a:pPr defTabSz="125182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/>
              <a:ea typeface="ヒラギノ角ゴ Pro W3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3851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6" r:id="rId1"/>
    <p:sldLayoutId id="2147485367" r:id="rId2"/>
    <p:sldLayoutId id="2147485368" r:id="rId3"/>
    <p:sldLayoutId id="2147485369" r:id="rId4"/>
    <p:sldLayoutId id="2147485370" r:id="rId5"/>
    <p:sldLayoutId id="2147485371" r:id="rId6"/>
    <p:sldLayoutId id="2147485372" r:id="rId7"/>
    <p:sldLayoutId id="2147485373" r:id="rId8"/>
    <p:sldLayoutId id="2147485374" r:id="rId9"/>
    <p:sldLayoutId id="2147485375" r:id="rId10"/>
    <p:sldLayoutId id="2147485376" r:id="rId11"/>
    <p:sldLayoutId id="2147485377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8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8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4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397" indent="-2323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958" indent="-30425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710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822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541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54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1698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490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361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169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88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8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7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4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15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03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0823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666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13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4" r:id="rId1"/>
    <p:sldLayoutId id="2147485405" r:id="rId2"/>
    <p:sldLayoutId id="2147485406" r:id="rId3"/>
    <p:sldLayoutId id="2147485407" r:id="rId4"/>
    <p:sldLayoutId id="2147485408" r:id="rId5"/>
    <p:sldLayoutId id="2147485409" r:id="rId6"/>
    <p:sldLayoutId id="2147485410" r:id="rId7"/>
    <p:sldLayoutId id="2147485411" r:id="rId8"/>
    <p:sldLayoutId id="2147485412" r:id="rId9"/>
    <p:sldLayoutId id="2147485413" r:id="rId10"/>
    <p:sldLayoutId id="2147485414" r:id="rId11"/>
    <p:sldLayoutId id="2147485415" r:id="rId12"/>
    <p:sldLayoutId id="214748541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0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09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090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793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823" indent="-2328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367" indent="-3048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6532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4099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1236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123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7757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4692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1684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48628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00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09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090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793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4798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1816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872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5693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303" tIns="62652" rIns="125303" bIns="626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0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303" tIns="62652" rIns="125303" bIns="62652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539B"/>
              </a:solidFill>
              <a:ea typeface="ヒラギノ角ゴ Pro W3" charset="-128"/>
            </a:endParaRPr>
          </a:p>
        </p:txBody>
      </p:sp>
      <p:sp>
        <p:nvSpPr>
          <p:cNvPr id="158725" name="Text Box 10"/>
          <p:cNvSpPr txBox="1">
            <a:spLocks noChangeArrowheads="1"/>
          </p:cNvSpPr>
          <p:nvPr/>
        </p:nvSpPr>
        <p:spPr bwMode="auto">
          <a:xfrm>
            <a:off x="12018154" y="9211735"/>
            <a:ext cx="598310" cy="3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3657AA3C-F81D-43BB-80E2-FF837BC184CD}" type="slidenum">
              <a:rPr lang="en-US" sz="1400" kern="1200" smtClean="0">
                <a:solidFill>
                  <a:srgbClr val="141313"/>
                </a:solidFill>
                <a:ea typeface="ヒラギノ角ゴ Pro W3" charset="-128"/>
              </a:rPr>
              <a:pPr defTabSz="88204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charset="-128"/>
            </a:endParaRPr>
          </a:p>
        </p:txBody>
      </p:sp>
      <p:sp>
        <p:nvSpPr>
          <p:cNvPr id="4102" name="Rectangle 7"/>
          <p:cNvSpPr>
            <a:spLocks noChangeArrowheads="1"/>
          </p:cNvSpPr>
          <p:nvPr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158727" name="Text Box 9"/>
          <p:cNvSpPr txBox="1">
            <a:spLocks noChangeArrowheads="1"/>
          </p:cNvSpPr>
          <p:nvPr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2496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4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2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6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16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89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922" indent="-2329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686" indent="-30494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16946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54611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491847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1847" algn="l"/>
        </a:tabLst>
        <a:defRPr sz="20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369135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6327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3574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0778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256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611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1677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8963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6083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3352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0526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7741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061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0" r:id="rId1"/>
    <p:sldLayoutId id="2147485451" r:id="rId2"/>
    <p:sldLayoutId id="2147485452" r:id="rId3"/>
    <p:sldLayoutId id="2147485453" r:id="rId4"/>
    <p:sldLayoutId id="2147485454" r:id="rId5"/>
    <p:sldLayoutId id="2147485455" r:id="rId6"/>
    <p:sldLayoutId id="2147485456" r:id="rId7"/>
    <p:sldLayoutId id="2147485457" r:id="rId8"/>
    <p:sldLayoutId id="2147485458" r:id="rId9"/>
    <p:sldLayoutId id="2147485459" r:id="rId10"/>
    <p:sldLayoutId id="2147485460" r:id="rId11"/>
    <p:sldLayoutId id="2147485461" r:id="rId12"/>
    <p:sldLayoutId id="2147485462" r:id="rId1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6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74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60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47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471" indent="-2334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478" indent="-305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9279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7491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5291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529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6889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5542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4230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2881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96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491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6008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4723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3315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1992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0645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9293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126024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314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4" r:id="rId1"/>
    <p:sldLayoutId id="2147485465" r:id="rId2"/>
    <p:sldLayoutId id="2147485466" r:id="rId3"/>
    <p:sldLayoutId id="2147485467" r:id="rId4"/>
    <p:sldLayoutId id="2147485468" r:id="rId5"/>
    <p:sldLayoutId id="2147485469" r:id="rId6"/>
    <p:sldLayoutId id="2147485470" r:id="rId7"/>
    <p:sldLayoutId id="2147485471" r:id="rId8"/>
    <p:sldLayoutId id="2147485472" r:id="rId9"/>
    <p:sldLayoutId id="2147485473" r:id="rId10"/>
    <p:sldLayoutId id="2147485474" r:id="rId11"/>
    <p:sldLayoutId id="2147485475" r:id="rId12"/>
    <p:sldLayoutId id="2147485476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00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024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01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202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997" indent="-2339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3191" indent="-3063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1531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0243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8592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859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84334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14367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44443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74470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72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0243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0166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20227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50241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80297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10349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71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949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68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371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033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71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750" indent="-23275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128" indent="-3047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6222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3715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0778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077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6724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3466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0266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47015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6808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3715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0333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7171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3833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0664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7380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4157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290" tIns="62646" rIns="125290" bIns="626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9551399" y="9062720"/>
            <a:ext cx="262657" cy="53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290" tIns="62646" rIns="125290" bIns="62646">
            <a:spAutoFit/>
          </a:bodyPr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srgbClr val="00539B"/>
              </a:solidFill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80902" name="Text Box 10"/>
          <p:cNvSpPr txBox="1">
            <a:spLocks noChangeArrowheads="1"/>
          </p:cNvSpPr>
          <p:nvPr/>
        </p:nvSpPr>
        <p:spPr bwMode="auto">
          <a:xfrm>
            <a:off x="12018154" y="9211734"/>
            <a:ext cx="598310" cy="349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7412" fontAlgn="base" hangingPunct="1">
              <a:spcBef>
                <a:spcPct val="50000"/>
              </a:spcBef>
              <a:spcAft>
                <a:spcPct val="0"/>
              </a:spcAft>
            </a:pPr>
            <a:fld id="{35C3FA5F-ACA3-4812-ADF7-B3A8232ED3E5}" type="slidenum">
              <a:rPr lang="en-US" sz="1400" kern="1200" smtClean="0">
                <a:solidFill>
                  <a:srgbClr val="141313"/>
                </a:solidFill>
                <a:ea typeface="ヒラギノ角ゴ Pro W3" pitchFamily="2" charset="-128"/>
              </a:rPr>
              <a:pPr defTabSz="887412" fontAlgn="base" hangingPunct="1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pitchFamily="2" charset="-128"/>
            </a:endParaRPr>
          </a:p>
        </p:txBody>
      </p:sp>
      <p:sp>
        <p:nvSpPr>
          <p:cNvPr id="13319" name="Rectangle 7"/>
          <p:cNvSpPr>
            <a:spLocks noChangeArrowheads="1"/>
          </p:cNvSpPr>
          <p:nvPr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80904" name="Text Box 9"/>
          <p:cNvSpPr txBox="1">
            <a:spLocks noChangeArrowheads="1"/>
          </p:cNvSpPr>
          <p:nvPr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575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5" r:id="rId1"/>
    <p:sldLayoutId id="2147485506" r:id="rId2"/>
    <p:sldLayoutId id="2147485507" r:id="rId3"/>
    <p:sldLayoutId id="2147485508" r:id="rId4"/>
    <p:sldLayoutId id="2147485509" r:id="rId5"/>
    <p:sldLayoutId id="2147485510" r:id="rId6"/>
    <p:sldLayoutId id="2147485511" r:id="rId7"/>
    <p:sldLayoutId id="2147485512" r:id="rId8"/>
    <p:sldLayoutId id="2147485513" r:id="rId9"/>
    <p:sldLayoutId id="2147485514" r:id="rId10"/>
    <p:sldLayoutId id="2147485515" r:id="rId11"/>
    <p:sldLayoutId id="2147485516" r:id="rId12"/>
    <p:sldLayoutId id="2147485518" r:id="rId13"/>
    <p:sldLayoutId id="2147485519" r:id="rId14"/>
    <p:sldLayoutId id="2147485520" r:id="rId15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22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5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1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87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735" indent="-2307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551" indent="-3027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14826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52499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489737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9737" algn="l"/>
        </a:tabLst>
        <a:defRPr sz="21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368862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6pPr>
      <a:lvl7pPr marL="3996008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7pPr>
      <a:lvl8pPr marL="4623192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8pPr>
      <a:lvl9pPr marL="5250358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722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510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81517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50874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3583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63032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90178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017357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669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2" r:id="rId1"/>
    <p:sldLayoutId id="2147485523" r:id="rId2"/>
    <p:sldLayoutId id="2147485524" r:id="rId3"/>
    <p:sldLayoutId id="2147485525" r:id="rId4"/>
    <p:sldLayoutId id="2147485526" r:id="rId5"/>
    <p:sldLayoutId id="2147485527" r:id="rId6"/>
    <p:sldLayoutId id="2147485528" r:id="rId7"/>
    <p:sldLayoutId id="2147485529" r:id="rId8"/>
    <p:sldLayoutId id="2147485530" r:id="rId9"/>
    <p:sldLayoutId id="2147485531" r:id="rId10"/>
    <p:sldLayoutId id="2147485532" r:id="rId11"/>
    <p:sldLayoutId id="214748553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76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563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321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10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116" indent="-2331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0323" indent="-3051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7773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5635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3071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307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1893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9603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7354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5079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768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5635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3213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1011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8655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6424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4122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1837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22925" tIns="61534" rIns="122925" bIns="6153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22925" tIns="61534" rIns="122925" bIns="6153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1635"/>
            <a:ext cx="292608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fld id="{149C7C40-21D0-4B28-BAA6-56997D200CD9}" type="datetime1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5965" hangingPunct="1"/>
              <a:t>3/19/18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1635"/>
            <a:ext cx="438912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1635"/>
            <a:ext cx="292608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5965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159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</p:sldLayoutIdLst>
  <p:hf hdr="0" ftr="0" dt="0"/>
  <p:txStyles>
    <p:titleStyle>
      <a:lvl1pPr algn="l" defTabSz="1231986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07825" indent="-307825" algn="l" defTabSz="1231986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24026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39957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155951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771915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387904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003867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19876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35809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965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986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957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3917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9909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587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185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781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0435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8" r:id="rId1"/>
    <p:sldLayoutId id="2147485549" r:id="rId2"/>
    <p:sldLayoutId id="2147485550" r:id="rId3"/>
    <p:sldLayoutId id="2147485551" r:id="rId4"/>
    <p:sldLayoutId id="2147485552" r:id="rId5"/>
    <p:sldLayoutId id="2147485553" r:id="rId6"/>
    <p:sldLayoutId id="2147485554" r:id="rId7"/>
    <p:sldLayoutId id="2147485555" r:id="rId8"/>
    <p:sldLayoutId id="2147485556" r:id="rId9"/>
    <p:sldLayoutId id="2147485557" r:id="rId10"/>
    <p:sldLayoutId id="2147485558" r:id="rId11"/>
    <p:sldLayoutId id="2147485559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31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67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48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31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323" indent="-2333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000" indent="-30546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8658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6723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4374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437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4821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3085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1383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9648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312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6723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484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318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138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688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7944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6204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766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2" r:id="rId1"/>
    <p:sldLayoutId id="2147485563" r:id="rId2"/>
    <p:sldLayoutId id="2147485564" r:id="rId3"/>
    <p:sldLayoutId id="2147485565" r:id="rId4"/>
    <p:sldLayoutId id="2147485566" r:id="rId5"/>
    <p:sldLayoutId id="2147485567" r:id="rId6"/>
    <p:sldLayoutId id="2147485568" r:id="rId7"/>
    <p:sldLayoutId id="2147485569" r:id="rId8"/>
    <p:sldLayoutId id="2147485570" r:id="rId9"/>
    <p:sldLayoutId id="2147485571" r:id="rId10"/>
    <p:sldLayoutId id="2147485572" r:id="rId11"/>
    <p:sldLayoutId id="214748557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8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78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64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53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530" indent="-2335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677" indent="-3057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9540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7811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5674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567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7753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6566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5418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4229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856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811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6491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5363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4119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2952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1773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0580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3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6" r:id="rId1"/>
    <p:sldLayoutId id="2147485577" r:id="rId2"/>
    <p:sldLayoutId id="2147485578" r:id="rId3"/>
    <p:sldLayoutId id="2147485579" r:id="rId4"/>
    <p:sldLayoutId id="2147485580" r:id="rId5"/>
    <p:sldLayoutId id="2147485581" r:id="rId6"/>
    <p:sldLayoutId id="2147485582" r:id="rId7"/>
    <p:sldLayoutId id="2147485583" r:id="rId8"/>
    <p:sldLayoutId id="2147485584" r:id="rId9"/>
    <p:sldLayoutId id="2147485585" r:id="rId10"/>
    <p:sldLayoutId id="2147485586" r:id="rId11"/>
    <p:sldLayoutId id="214748558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946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90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832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77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764" indent="-2337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2433" indent="-3060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0535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9027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7133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713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81037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10463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9930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9348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464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9027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8329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7795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7176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6622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6061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471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2834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5" r:id="rId1"/>
    <p:sldLayoutId id="2147485616" r:id="rId2"/>
    <p:sldLayoutId id="2147485617" r:id="rId3"/>
    <p:sldLayoutId id="2147485618" r:id="rId4"/>
    <p:sldLayoutId id="2147485619" r:id="rId5"/>
    <p:sldLayoutId id="2147485620" r:id="rId6"/>
    <p:sldLayoutId id="2147485621" r:id="rId7"/>
    <p:sldLayoutId id="2147485622" r:id="rId8"/>
    <p:sldLayoutId id="2147485623" r:id="rId9"/>
    <p:sldLayoutId id="2147485624" r:id="rId10"/>
    <p:sldLayoutId id="2147485625" r:id="rId11"/>
    <p:sldLayoutId id="2147485626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17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35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51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269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4637" indent="-2346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5269" indent="-307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4260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3571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2586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258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3355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25058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56813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88527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1736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3571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5195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26918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58648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0364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22105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3813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460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033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9" r:id="rId1"/>
    <p:sldLayoutId id="2147485630" r:id="rId2"/>
    <p:sldLayoutId id="2147485631" r:id="rId3"/>
    <p:sldLayoutId id="2147485632" r:id="rId4"/>
    <p:sldLayoutId id="2147485633" r:id="rId5"/>
    <p:sldLayoutId id="2147485634" r:id="rId6"/>
    <p:sldLayoutId id="2147485635" r:id="rId7"/>
    <p:sldLayoutId id="2147485636" r:id="rId8"/>
    <p:sldLayoutId id="2147485637" r:id="rId9"/>
    <p:sldLayoutId id="2147485638" r:id="rId10"/>
    <p:sldLayoutId id="2147485639" r:id="rId11"/>
    <p:sldLayoutId id="2147485640" r:id="rId12"/>
    <p:sldLayoutId id="2147485641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295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60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88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18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105" indent="-23510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6805" indent="-3077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6260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6003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5504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550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9953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2894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5888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98819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2952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6003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8877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1836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4800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7753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0708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3649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8278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44" r:id="rId1"/>
    <p:sldLayoutId id="2147485645" r:id="rId2"/>
    <p:sldLayoutId id="2147485646" r:id="rId3"/>
    <p:sldLayoutId id="2147485647" r:id="rId4"/>
    <p:sldLayoutId id="2147485648" r:id="rId5"/>
    <p:sldLayoutId id="2147485649" r:id="rId6"/>
    <p:sldLayoutId id="2147485650" r:id="rId7"/>
    <p:sldLayoutId id="2147485651" r:id="rId8"/>
    <p:sldLayoutId id="2147485652" r:id="rId9"/>
    <p:sldLayoutId id="2147485653" r:id="rId10"/>
    <p:sldLayoutId id="2147485654" r:id="rId11"/>
    <p:sldLayoutId id="2147485655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381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77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015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53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437" indent="-2354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7897" indent="-3081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7680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7731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7578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757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04657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8471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72339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06150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3816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7731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01514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5330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9178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3007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6827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52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0304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  <p:sldLayoutId id="2147485697" r:id="rId9"/>
    <p:sldLayoutId id="2147485698" r:id="rId10"/>
    <p:sldLayoutId id="2147485699" r:id="rId11"/>
    <p:sldLayoutId id="214748570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9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9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7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71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422" indent="-2324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8053" indent="-30430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826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987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719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71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2078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951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888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770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944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987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741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71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511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480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132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724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186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2" r:id="rId1"/>
    <p:sldLayoutId id="2147485703" r:id="rId2"/>
    <p:sldLayoutId id="2147485704" r:id="rId3"/>
    <p:sldLayoutId id="2147485705" r:id="rId4"/>
    <p:sldLayoutId id="2147485706" r:id="rId5"/>
    <p:sldLayoutId id="2147485707" r:id="rId6"/>
    <p:sldLayoutId id="2147485708" r:id="rId7"/>
    <p:sldLayoutId id="2147485709" r:id="rId8"/>
    <p:sldLayoutId id="2147485710" r:id="rId9"/>
    <p:sldLayoutId id="2147485711" r:id="rId10"/>
    <p:sldLayoutId id="2147485712" r:id="rId11"/>
    <p:sldLayoutId id="214748571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698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39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098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4796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6631" indent="-2366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1817" indent="-3096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2785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3947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5088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508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1617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58571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9557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32573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6983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3947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0989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47965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4929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1931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8928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95883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867" y="9062722"/>
            <a:ext cx="262729" cy="65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368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8360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0" r:id="rId1"/>
    <p:sldLayoutId id="2147485741" r:id="rId2"/>
    <p:sldLayoutId id="2147485742" r:id="rId3"/>
    <p:sldLayoutId id="2147485743" r:id="rId4"/>
    <p:sldLayoutId id="2147485744" r:id="rId5"/>
    <p:sldLayoutId id="2147485745" r:id="rId6"/>
    <p:sldLayoutId id="2147485746" r:id="rId7"/>
    <p:sldLayoutId id="2147485747" r:id="rId8"/>
    <p:sldLayoutId id="2147485748" r:id="rId9"/>
    <p:sldLayoutId id="2147485749" r:id="rId10"/>
    <p:sldLayoutId id="2147485750" r:id="rId11"/>
    <p:sldLayoutId id="2147485751" r:id="rId12"/>
    <p:sldLayoutId id="2147485752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94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88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83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577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554" indent="-2375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4848" indent="-31085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6760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8854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0898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089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34750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74192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13632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53075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437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8854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8346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7771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7185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36625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6099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15478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077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625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7" r:id="rId1"/>
    <p:sldLayoutId id="2147485768" r:id="rId2"/>
    <p:sldLayoutId id="2147485769" r:id="rId3"/>
    <p:sldLayoutId id="2147485770" r:id="rId4"/>
    <p:sldLayoutId id="2147485771" r:id="rId5"/>
    <p:sldLayoutId id="2147485772" r:id="rId6"/>
    <p:sldLayoutId id="2147485773" r:id="rId7"/>
    <p:sldLayoutId id="2147485774" r:id="rId8"/>
    <p:sldLayoutId id="2147485775" r:id="rId9"/>
    <p:sldLayoutId id="2147485776" r:id="rId10"/>
    <p:sldLayoutId id="2147485777" r:id="rId11"/>
    <p:sldLayoutId id="2147485778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04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09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214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619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948" indent="-2379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6142" indent="-31136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8466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0947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3394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339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40379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80876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21364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61859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484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94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21486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61958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0242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2911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342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23865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6" y="9062736"/>
            <a:ext cx="248575" cy="64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843"/>
            <a:ext cx="7065941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3"/>
            <a:ext cx="598310" cy="348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4463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2" r:id="rId13"/>
    <p:sldLayoutId id="2147483954" r:id="rId14"/>
    <p:sldLayoutId id="2147483959" r:id="rId15"/>
    <p:sldLayoutId id="214748396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25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56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88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505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850" indent="-2288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035" indent="-2995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9233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562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5762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576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0286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6543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2824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9080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253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562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8806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5052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1330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7575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3838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0086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723"/>
            <a:ext cx="259510" cy="652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8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733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3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2" r:id="rId1"/>
    <p:sldLayoutId id="2147485833" r:id="rId2"/>
    <p:sldLayoutId id="2147485834" r:id="rId3"/>
    <p:sldLayoutId id="2147485835" r:id="rId4"/>
    <p:sldLayoutId id="2147485836" r:id="rId5"/>
    <p:sldLayoutId id="2147485837" r:id="rId6"/>
    <p:sldLayoutId id="2147485838" r:id="rId7"/>
    <p:sldLayoutId id="2147485839" r:id="rId8"/>
    <p:sldLayoutId id="2147485840" r:id="rId9"/>
    <p:sldLayoutId id="2147485841" r:id="rId10"/>
    <p:sldLayoutId id="2147485842" r:id="rId11"/>
    <p:sldLayoutId id="2147485843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81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62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43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525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062" indent="-2370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3225" indent="-3102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4623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6223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7782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778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7704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65794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03936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42080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8120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6223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4395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250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0622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873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6887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0495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92" y="9062721"/>
            <a:ext cx="261303" cy="653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5988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0" r:id="rId1"/>
    <p:sldLayoutId id="2147485981" r:id="rId2"/>
    <p:sldLayoutId id="2147485982" r:id="rId3"/>
    <p:sldLayoutId id="2147485983" r:id="rId4"/>
    <p:sldLayoutId id="2147485984" r:id="rId5"/>
    <p:sldLayoutId id="2147485985" r:id="rId6"/>
    <p:sldLayoutId id="2147485986" r:id="rId7"/>
    <p:sldLayoutId id="2147485987" r:id="rId8"/>
    <p:sldLayoutId id="2147485988" r:id="rId9"/>
    <p:sldLayoutId id="2147485989" r:id="rId10"/>
    <p:sldLayoutId id="2147485990" r:id="rId11"/>
    <p:sldLayoutId id="2147485991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2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486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2736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698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8682" indent="-23868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8580" indent="-3123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1683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4864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8080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808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50921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93377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35835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78278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2436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4864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27365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69803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12269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69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97134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3958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3"/>
            <a:ext cx="261834" cy="654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0876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8" r:id="rId1"/>
    <p:sldLayoutId id="2147486019" r:id="rId2"/>
    <p:sldLayoutId id="2147486020" r:id="rId3"/>
    <p:sldLayoutId id="2147486021" r:id="rId4"/>
    <p:sldLayoutId id="2147486022" r:id="rId5"/>
    <p:sldLayoutId id="2147486023" r:id="rId6"/>
    <p:sldLayoutId id="2147486024" r:id="rId7"/>
    <p:sldLayoutId id="2147486025" r:id="rId8"/>
    <p:sldLayoutId id="2147486026" r:id="rId9"/>
    <p:sldLayoutId id="2147486027" r:id="rId10"/>
    <p:sldLayoutId id="2147486028" r:id="rId11"/>
    <p:sldLayoutId id="2147486029" r:id="rId12"/>
    <p:sldLayoutId id="2147486031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37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742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3120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749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9164" indent="-2391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0179" indent="-31294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3784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7425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1123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112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57823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01548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45281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89032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3718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7425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31205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74927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18702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397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06120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49859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89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/>
                <a:ea typeface="ヒラギノ角ゴ Pro W3"/>
              </a:rPr>
              <a:pPr defTabSz="129107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/>
              <a:ea typeface="ヒラギノ角ゴ Pro W3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49255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5" r:id="rId1"/>
    <p:sldLayoutId id="2147486046" r:id="rId2"/>
    <p:sldLayoutId id="2147486047" r:id="rId3"/>
    <p:sldLayoutId id="2147486048" r:id="rId4"/>
    <p:sldLayoutId id="2147486049" r:id="rId5"/>
    <p:sldLayoutId id="2147486050" r:id="rId6"/>
    <p:sldLayoutId id="2147486051" r:id="rId7"/>
    <p:sldLayoutId id="2147486052" r:id="rId8"/>
    <p:sldLayoutId id="2147486053" r:id="rId9"/>
    <p:sldLayoutId id="2147486054" r:id="rId10"/>
    <p:sldLayoutId id="2147486055" r:id="rId11"/>
    <p:sldLayoutId id="2147486056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55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107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366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21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9838" indent="-239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2444" indent="-31381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6748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1073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5423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542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67565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13116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58670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04218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5522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1073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36637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2192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27778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3276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18831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64358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418" y="1083738"/>
            <a:ext cx="11878168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843" tIns="64424" rIns="128843" bIns="644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418" y="2857001"/>
            <a:ext cx="11878168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843" tIns="64424" rIns="128843" bIns="644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91" y="9062948"/>
            <a:ext cx="262079" cy="65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843" tIns="64424" rIns="128843" bIns="64424">
            <a:prstTxWarp prst="textNoShape">
              <a:avLst/>
            </a:prstTxWarp>
            <a:spAutoFit/>
          </a:bodyPr>
          <a:lstStyle/>
          <a:p>
            <a:pPr defTabSz="9060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9446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6" r:id="rId1"/>
    <p:sldLayoutId id="2147486097" r:id="rId2"/>
    <p:sldLayoutId id="2147486098" r:id="rId3"/>
    <p:sldLayoutId id="2147486099" r:id="rId4"/>
    <p:sldLayoutId id="2147486100" r:id="rId5"/>
    <p:sldLayoutId id="2147486101" r:id="rId6"/>
    <p:sldLayoutId id="2147486102" r:id="rId7"/>
    <p:sldLayoutId id="2147486103" r:id="rId8"/>
    <p:sldLayoutId id="2147486104" r:id="rId9"/>
    <p:sldLayoutId id="2147486105" r:id="rId10"/>
    <p:sldLayoutId id="2147486106" r:id="rId11"/>
    <p:sldLayoutId id="2147486107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43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86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329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7729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9386" indent="-239386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0918" indent="-313231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4755" indent="-243815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8614" indent="-243815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2531" indent="-243815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»"/>
        <a:tabLst>
          <a:tab pos="153253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61013" indent="-23938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05332" indent="-23938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49659" indent="-23938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94001" indent="-23938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4306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8614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32977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77299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21671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8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10271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54599" algn="l" defTabSz="64430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910"/>
            <a:ext cx="257582" cy="651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129"/>
            <a:ext cx="7065941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4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6991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9" r:id="rId1"/>
    <p:sldLayoutId id="2147486110" r:id="rId2"/>
    <p:sldLayoutId id="2147486111" r:id="rId3"/>
    <p:sldLayoutId id="2147486112" r:id="rId4"/>
    <p:sldLayoutId id="2147486113" r:id="rId5"/>
    <p:sldLayoutId id="2147486114" r:id="rId6"/>
    <p:sldLayoutId id="2147486115" r:id="rId7"/>
    <p:sldLayoutId id="2147486116" r:id="rId8"/>
    <p:sldLayoutId id="2147486117" r:id="rId9"/>
    <p:sldLayoutId id="2147486118" r:id="rId10"/>
    <p:sldLayoutId id="2147486119" r:id="rId11"/>
    <p:sldLayoutId id="2147486120" r:id="rId12"/>
    <p:sldLayoutId id="2147486122" r:id="rId13"/>
    <p:sldLayoutId id="2147486124" r:id="rId14"/>
    <p:sldLayoutId id="2147486129" r:id="rId15"/>
    <p:sldLayoutId id="214748613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34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70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0052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40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314" indent="-23531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7482" indent="-30799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7138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7054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6787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50678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02869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6363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9893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03375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3496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7054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0052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401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7524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1012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451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7997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90" y="9062720"/>
            <a:ext cx="257185" cy="65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978"/>
            <a:ext cx="7065941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5"/>
            <a:ext cx="598310" cy="34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616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9" r:id="rId1"/>
    <p:sldLayoutId id="2147486240" r:id="rId2"/>
    <p:sldLayoutId id="2147486241" r:id="rId3"/>
    <p:sldLayoutId id="2147486242" r:id="rId4"/>
    <p:sldLayoutId id="2147486243" r:id="rId5"/>
    <p:sldLayoutId id="2147486244" r:id="rId6"/>
    <p:sldLayoutId id="2147486245" r:id="rId7"/>
    <p:sldLayoutId id="2147486246" r:id="rId8"/>
    <p:sldLayoutId id="2147486247" r:id="rId9"/>
    <p:sldLayoutId id="2147486248" r:id="rId10"/>
    <p:sldLayoutId id="2147486249" r:id="rId11"/>
    <p:sldLayoutId id="2147486250" r:id="rId12"/>
    <p:sldLayoutId id="2147486252" r:id="rId13"/>
    <p:sldLayoutId id="2147486254" r:id="rId14"/>
    <p:sldLayoutId id="2147486259" r:id="rId15"/>
    <p:sldLayoutId id="214748626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256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519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76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02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4957" indent="-23495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6310" indent="-3075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5615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5198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4560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50456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7833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0374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2964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95511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2568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5198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7686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0256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2819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5373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27941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0489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2" y="9062910"/>
            <a:ext cx="259036" cy="652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517"/>
            <a:ext cx="598310" cy="34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586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425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69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39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09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479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6631" indent="-2366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1807" indent="-3096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2773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3931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5071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507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1576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5852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95524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3252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6975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3931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0963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47938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4895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1888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8871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95824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4492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0" r:id="rId1"/>
    <p:sldLayoutId id="2147486331" r:id="rId2"/>
    <p:sldLayoutId id="2147486332" r:id="rId3"/>
    <p:sldLayoutId id="2147486333" r:id="rId4"/>
    <p:sldLayoutId id="2147486334" r:id="rId5"/>
    <p:sldLayoutId id="2147486335" r:id="rId6"/>
    <p:sldLayoutId id="2147486336" r:id="rId7"/>
    <p:sldLayoutId id="2147486337" r:id="rId8"/>
    <p:sldLayoutId id="2147486338" r:id="rId9"/>
    <p:sldLayoutId id="2147486339" r:id="rId10"/>
    <p:sldLayoutId id="2147486340" r:id="rId11"/>
    <p:sldLayoutId id="2147486341" r:id="rId12"/>
    <p:sldLayoutId id="2147486343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0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413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123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83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409" indent="-2404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4354" indent="-3145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9238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4139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9066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906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75786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2851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69927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17015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046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4139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1232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306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5407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461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29535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589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9588" tIns="64794" rIns="129588" bIns="647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0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588" tIns="64794" rIns="129588" bIns="64794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539B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58725" name="Text Box 10"/>
          <p:cNvSpPr txBox="1">
            <a:spLocks noChangeArrowheads="1"/>
          </p:cNvSpPr>
          <p:nvPr/>
        </p:nvSpPr>
        <p:spPr bwMode="auto">
          <a:xfrm>
            <a:off x="12018154" y="9211735"/>
            <a:ext cx="598310" cy="3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3657AA3C-F81D-43BB-80E2-FF837BC184CD}" type="slidenum">
              <a:rPr lang="en-US" sz="1400" kern="1200" smtClean="0">
                <a:solidFill>
                  <a:srgbClr val="141313"/>
                </a:solidFill>
                <a:ea typeface="ヒラギノ角ゴ Pro W3" charset="-128"/>
                <a:cs typeface="ヒラギノ角ゴ Pro W3" charset="-128"/>
              </a:rPr>
              <a:pPr defTabSz="91125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102" name="Rectangle 7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58727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818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4" r:id="rId9"/>
    <p:sldLayoutId id="2147486355" r:id="rId10"/>
    <p:sldLayoutId id="2147486356" r:id="rId11"/>
    <p:sldLayoutId id="2147486357" r:id="rId12"/>
    <p:sldLayoutId id="2147486358" r:id="rId13"/>
    <p:sldLayoutId id="2147486360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9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59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39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188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741" indent="-24074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5467" indent="-3149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50693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95934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541193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1193" algn="l"/>
        </a:tabLst>
        <a:defRPr sz="20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480588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8556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6524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24503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944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5934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3920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1881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986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7833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3579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75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5" y="9062722"/>
            <a:ext cx="248887" cy="647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859"/>
            <a:ext cx="7065941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323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8" r:id="rId13"/>
    <p:sldLayoutId id="2147483980" r:id="rId14"/>
    <p:sldLayoutId id="2147483985" r:id="rId15"/>
    <p:sldLayoutId id="2147483989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9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40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09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795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118" indent="-22911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941" indent="-29993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0411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4030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7494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749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4180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1161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8169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5162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984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4030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0975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7959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4979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1927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8921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5896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4401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98" r:id="rId1"/>
    <p:sldLayoutId id="2147486499" r:id="rId2"/>
    <p:sldLayoutId id="2147486500" r:id="rId3"/>
    <p:sldLayoutId id="2147486501" r:id="rId4"/>
    <p:sldLayoutId id="2147486502" r:id="rId5"/>
    <p:sldLayoutId id="2147486503" r:id="rId6"/>
    <p:sldLayoutId id="2147486504" r:id="rId7"/>
    <p:sldLayoutId id="2147486505" r:id="rId8"/>
    <p:sldLayoutId id="2147486506" r:id="rId9"/>
    <p:sldLayoutId id="2147486507" r:id="rId10"/>
    <p:sldLayoutId id="2147486508" r:id="rId11"/>
    <p:sldLayoutId id="2147486509" r:id="rId12"/>
    <p:sldLayoutId id="2147486511" r:id="rId13"/>
    <p:sldLayoutId id="2147486512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92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845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77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693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209" indent="-2412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7035" indent="-31560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2745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8459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4186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418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87371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36601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85822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35065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922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8459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7703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6932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6157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95399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44626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9386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82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2979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26" r:id="rId1"/>
    <p:sldLayoutId id="2147486527" r:id="rId2"/>
    <p:sldLayoutId id="2147486528" r:id="rId3"/>
    <p:sldLayoutId id="2147486529" r:id="rId4"/>
    <p:sldLayoutId id="2147486530" r:id="rId5"/>
    <p:sldLayoutId id="2147486531" r:id="rId6"/>
    <p:sldLayoutId id="2147486532" r:id="rId7"/>
    <p:sldLayoutId id="2147486533" r:id="rId8"/>
    <p:sldLayoutId id="2147486534" r:id="rId9"/>
    <p:sldLayoutId id="2147486535" r:id="rId10"/>
    <p:sldLayoutId id="2147486536" r:id="rId11"/>
    <p:sldLayoutId id="2147486537" r:id="rId12"/>
    <p:sldLayoutId id="214748653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80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605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40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21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761" indent="-24076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5537" indent="-3150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0791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6057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1331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133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80904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8931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6972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25003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8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6057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4096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2119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0160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8185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36212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4226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692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4" r:id="rId1"/>
    <p:sldLayoutId id="2147486555" r:id="rId2"/>
    <p:sldLayoutId id="2147486556" r:id="rId3"/>
    <p:sldLayoutId id="2147486557" r:id="rId4"/>
    <p:sldLayoutId id="2147486558" r:id="rId5"/>
    <p:sldLayoutId id="2147486559" r:id="rId6"/>
    <p:sldLayoutId id="2147486560" r:id="rId7"/>
    <p:sldLayoutId id="2147486561" r:id="rId8"/>
    <p:sldLayoutId id="2147486562" r:id="rId9"/>
    <p:sldLayoutId id="2147486563" r:id="rId10"/>
    <p:sldLayoutId id="2147486564" r:id="rId11"/>
    <p:sldLayoutId id="2147486565" r:id="rId12"/>
    <p:sldLayoutId id="214748656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97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95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93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91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418" indent="-24141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7736" indent="-3158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3664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9592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5527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552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90406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40203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89992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39794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9793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9592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9395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9191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8986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98788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48577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98381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3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3" y="9212327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07681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70" r:id="rId1"/>
    <p:sldLayoutId id="2147486571" r:id="rId2"/>
    <p:sldLayoutId id="2147486572" r:id="rId3"/>
    <p:sldLayoutId id="2147486573" r:id="rId4"/>
    <p:sldLayoutId id="2147486574" r:id="rId5"/>
    <p:sldLayoutId id="2147486575" r:id="rId6"/>
    <p:sldLayoutId id="2147486576" r:id="rId7"/>
    <p:sldLayoutId id="2147486577" r:id="rId8"/>
    <p:sldLayoutId id="2147486578" r:id="rId9"/>
    <p:sldLayoutId id="2147486579" r:id="rId10"/>
    <p:sldLayoutId id="2147486580" r:id="rId11"/>
    <p:sldLayoutId id="2147486581" r:id="rId12"/>
    <p:sldLayoutId id="2147486583" r:id="rId13"/>
    <p:sldLayoutId id="2147486584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502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30046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506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6009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579" indent="-2415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8272" indent="-3160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4366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300460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6554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655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9272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4295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9318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4341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81750" tIns="90903" rIns="181750" bIns="9090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81750" tIns="90903" rIns="181750" bIns="909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0616"/>
            <a:ext cx="292608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0616"/>
            <a:ext cx="438912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0616"/>
            <a:ext cx="292608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39241" eaLnBrk="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204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98" r:id="rId1"/>
    <p:sldLayoutId id="2147486599" r:id="rId2"/>
    <p:sldLayoutId id="2147486600" r:id="rId3"/>
    <p:sldLayoutId id="2147486601" r:id="rId4"/>
    <p:sldLayoutId id="2147486602" r:id="rId5"/>
    <p:sldLayoutId id="2147486603" r:id="rId6"/>
    <p:sldLayoutId id="2147486604" r:id="rId7"/>
    <p:sldLayoutId id="2147486605" r:id="rId8"/>
    <p:sldLayoutId id="2147486606" r:id="rId9"/>
    <p:sldLayoutId id="2147486607" r:id="rId10"/>
    <p:sldLayoutId id="2147486608" r:id="rId11"/>
    <p:sldLayoutId id="2147486609" r:id="rId12"/>
    <p:sldLayoutId id="2147486610" r:id="rId13"/>
    <p:sldLayoutId id="2147486611" r:id="rId14"/>
    <p:sldLayoutId id="2147486612" r:id="rId15"/>
    <p:sldLayoutId id="2147486613" r:id="rId16"/>
    <p:sldLayoutId id="2147486614" r:id="rId17"/>
    <p:sldLayoutId id="2147486615" r:id="rId18"/>
  </p:sldLayoutIdLst>
  <p:hf sldNum="0" hdr="0" ftr="0" dt="0"/>
  <p:txStyles>
    <p:titleStyle>
      <a:lvl1pPr algn="l" defTabSz="1278461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19507" indent="-319507" algn="l" defTabSz="1278461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5884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98098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237358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87659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515823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15506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794313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433526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241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8461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7757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6986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6204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35447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725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13908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275851"/>
            <a:ext cx="11704320" cy="6436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0240" y="9040154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40"/>
            <a:fld id="{A8A5EFAE-45AF-C142-876B-AEB228181B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75340"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3308" y="9040154"/>
            <a:ext cx="4118187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4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0107" y="9040154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40"/>
            <a:fld id="{C38AE58A-6022-DC4E-98AF-452C41C6FBB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7534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437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55" r:id="rId1"/>
    <p:sldLayoutId id="2147486756" r:id="rId2"/>
    <p:sldLayoutId id="2147486757" r:id="rId3"/>
    <p:sldLayoutId id="2147486758" r:id="rId4"/>
    <p:sldLayoutId id="2147486759" r:id="rId5"/>
    <p:sldLayoutId id="2147486760" r:id="rId6"/>
    <p:sldLayoutId id="2147486761" r:id="rId7"/>
    <p:sldLayoutId id="2147486762" r:id="rId8"/>
    <p:sldLayoutId id="2147486763" r:id="rId9"/>
    <p:sldLayoutId id="2147486764" r:id="rId10"/>
    <p:sldLayoutId id="2147486765" r:id="rId11"/>
  </p:sldLayoutIdLst>
  <p:txStyles>
    <p:titleStyle>
      <a:lvl1pPr algn="ctr" defTabSz="48764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733" indent="-365733" algn="l" defTabSz="487647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1pPr>
      <a:lvl2pPr marL="792424" indent="-304780" algn="l" defTabSz="487647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4" indent="-243823" algn="l" defTabSz="487647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706761" indent="-243823" algn="l" defTabSz="487647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408" indent="-243823" algn="l" defTabSz="487647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052" indent="-243823" algn="l" defTabSz="48764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698" indent="-243823" algn="l" defTabSz="48764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345" indent="-243823" algn="l" defTabSz="48764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991" indent="-243823" algn="l" defTabSz="487647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47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1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37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84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30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74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22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69" algn="l" defTabSz="48764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695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24" r:id="rId1"/>
    <p:sldLayoutId id="2147486825" r:id="rId2"/>
    <p:sldLayoutId id="2147486826" r:id="rId3"/>
    <p:sldLayoutId id="2147486827" r:id="rId4"/>
    <p:sldLayoutId id="2147486828" r:id="rId5"/>
    <p:sldLayoutId id="2147486829" r:id="rId6"/>
    <p:sldLayoutId id="2147486830" r:id="rId7"/>
    <p:sldLayoutId id="2147486831" r:id="rId8"/>
    <p:sldLayoutId id="2147486832" r:id="rId9"/>
    <p:sldLayoutId id="2147486833" r:id="rId10"/>
    <p:sldLayoutId id="2147486834" r:id="rId11"/>
    <p:sldLayoutId id="2147486835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0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42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13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84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421" indent="-24042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4395" indent="-3145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9291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4206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9145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9145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75963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3062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0170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17292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078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4206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1331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438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5572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659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29767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854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3763"/>
            <a:ext cx="249105" cy="647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78"/>
            <a:ext cx="598310" cy="34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854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1745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51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25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01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316" indent="-2293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7615" indent="-3001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1281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5118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8776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877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7067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4593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2128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9659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528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5118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258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0111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7645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515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2687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0192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6" y="9063761"/>
            <a:ext cx="249227" cy="647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265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84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57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3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13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432" indent="-22943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009" indent="-3003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1793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5758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9529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952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8766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6611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4460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2294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84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575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352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1377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9223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7045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4903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2722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1" y="9062723"/>
            <a:ext cx="249337" cy="64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6911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810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627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42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238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525" indent="-22952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324" indent="-3004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2203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6270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0132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013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0124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8225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6326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4413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8104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6270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4286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2389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0507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561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6675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4748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6.xml"/><Relationship Id="rId2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5.xml"/><Relationship Id="rId2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028660" y="4063620"/>
            <a:ext cx="8000779" cy="2090702"/>
          </a:xfrm>
        </p:spPr>
        <p:txBody>
          <a:bodyPr>
            <a:normAutofit fontScale="90000"/>
          </a:bodyPr>
          <a:lstStyle/>
          <a:p>
            <a: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  <a:t>Ensuring that Students are Learning:</a:t>
            </a:r>
            <a:b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  <a:t>Implementation Section Pillar #4</a:t>
            </a: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249" y="774967"/>
            <a:ext cx="3657600" cy="2113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67246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2191858" cy="1625600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Rethinking</a:t>
            </a:r>
            <a:r>
              <a:rPr lang="en-US" sz="5400" dirty="0">
                <a:solidFill>
                  <a:schemeClr val="bg2"/>
                </a:solidFill>
              </a:rPr>
              <a:t> </a:t>
            </a:r>
            <a:r>
              <a:rPr lang="en-US" sz="5400" dirty="0">
                <a:solidFill>
                  <a:srgbClr val="0070C0"/>
                </a:solidFill>
              </a:rPr>
              <a:t>Teaching and Learning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51771" y="3713944"/>
            <a:ext cx="5626101" cy="530014"/>
          </a:xfrm>
          <a:prstGeom prst="rect">
            <a:avLst/>
          </a:prstGeom>
        </p:spPr>
        <p:txBody>
          <a:bodyPr wrap="square" lIns="90789" tIns="45372" rIns="90789" bIns="45372">
            <a:spAutoFit/>
          </a:bodyPr>
          <a:lstStyle/>
          <a:p>
            <a:pPr marL="283705" defTabSz="442301"/>
            <a:r>
              <a:rPr lang="en-US" sz="2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Gen </a:t>
            </a:r>
            <a:r>
              <a:rPr lang="en-US" sz="2800" b="1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d</a:t>
            </a:r>
            <a:r>
              <a:rPr lang="en-US" sz="2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earning outcom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6585" y="4667252"/>
            <a:ext cx="3249873" cy="529687"/>
          </a:xfrm>
          <a:prstGeom prst="rect">
            <a:avLst/>
          </a:prstGeom>
        </p:spPr>
        <p:txBody>
          <a:bodyPr wrap="none" lIns="90789" tIns="45372" rIns="90789" bIns="45372">
            <a:spAutoFit/>
          </a:bodyPr>
          <a:lstStyle/>
          <a:p>
            <a:pPr marL="283705" indent="-56750" defTabSz="442301"/>
            <a:r>
              <a:rPr lang="en-US" sz="2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Generic gen </a:t>
            </a:r>
            <a:r>
              <a:rPr lang="en-US" sz="2800" b="1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ds</a:t>
            </a:r>
            <a:endParaRPr lang="en-US" sz="28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6492" y="5570668"/>
            <a:ext cx="3288631" cy="529687"/>
          </a:xfrm>
          <a:prstGeom prst="rect">
            <a:avLst/>
          </a:prstGeom>
        </p:spPr>
        <p:txBody>
          <a:bodyPr wrap="none" lIns="90789" tIns="45372" rIns="90789" bIns="45372">
            <a:spAutoFit/>
          </a:bodyPr>
          <a:lstStyle/>
          <a:p>
            <a:pPr marL="226980" defTabSz="442301"/>
            <a:r>
              <a:rPr lang="en-US" sz="2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In-class learni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254892" y="3746954"/>
            <a:ext cx="6502400" cy="530014"/>
          </a:xfrm>
          <a:prstGeom prst="rect">
            <a:avLst/>
          </a:prstGeom>
        </p:spPr>
        <p:txBody>
          <a:bodyPr lIns="90789" tIns="45372" rIns="90789" bIns="45372">
            <a:spAutoFit/>
          </a:bodyPr>
          <a:lstStyle/>
          <a:p>
            <a:pPr marL="226980" defTabSz="442301"/>
            <a:r>
              <a:rPr lang="en-US" sz="2800" b="1" dirty="0">
                <a:solidFill>
                  <a:srgbClr val="0070C0"/>
                </a:solidFill>
              </a:rPr>
              <a:t>Meta-major learning outcom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254898" y="4634241"/>
            <a:ext cx="4545271" cy="529687"/>
          </a:xfrm>
          <a:prstGeom prst="rect">
            <a:avLst/>
          </a:prstGeom>
        </p:spPr>
        <p:txBody>
          <a:bodyPr wrap="none" lIns="90789" tIns="45372" rIns="90789" bIns="45372">
            <a:spAutoFit/>
          </a:bodyPr>
          <a:lstStyle/>
          <a:p>
            <a:pPr marL="283705" defTabSz="442301"/>
            <a:r>
              <a:rPr lang="en-US" sz="2800" b="1" dirty="0">
                <a:solidFill>
                  <a:srgbClr val="0070C0"/>
                </a:solidFill>
              </a:rPr>
              <a:t>Contextualized gen </a:t>
            </a:r>
            <a:r>
              <a:rPr lang="en-US" sz="2800" b="1" dirty="0" err="1">
                <a:solidFill>
                  <a:srgbClr val="0070C0"/>
                </a:solidFill>
              </a:rPr>
              <a:t>eds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54892" y="5561795"/>
            <a:ext cx="6502400" cy="530014"/>
          </a:xfrm>
          <a:prstGeom prst="rect">
            <a:avLst/>
          </a:prstGeom>
        </p:spPr>
        <p:txBody>
          <a:bodyPr lIns="90789" tIns="45372" rIns="90789" bIns="45372">
            <a:spAutoFit/>
          </a:bodyPr>
          <a:lstStyle/>
          <a:p>
            <a:pPr marL="226980" defTabSz="442301"/>
            <a:r>
              <a:rPr lang="en-US" sz="2800" b="1" dirty="0">
                <a:solidFill>
                  <a:srgbClr val="0070C0"/>
                </a:solidFill>
              </a:rPr>
              <a:t>Curricular + co-curricular learn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6436" y="6523170"/>
            <a:ext cx="3755995" cy="529687"/>
          </a:xfrm>
          <a:prstGeom prst="rect">
            <a:avLst/>
          </a:prstGeom>
        </p:spPr>
        <p:txBody>
          <a:bodyPr wrap="none" lIns="90789" tIns="45372" rIns="90789" bIns="45372">
            <a:spAutoFit/>
          </a:bodyPr>
          <a:lstStyle/>
          <a:p>
            <a:pPr marL="226980" defTabSz="442301"/>
            <a:r>
              <a:rPr lang="en-US" sz="2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Student transcript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254892" y="6514295"/>
            <a:ext cx="6502400" cy="530014"/>
          </a:xfrm>
          <a:prstGeom prst="rect">
            <a:avLst/>
          </a:prstGeom>
        </p:spPr>
        <p:txBody>
          <a:bodyPr lIns="90789" tIns="45372" rIns="90789" bIns="45372">
            <a:spAutoFit/>
          </a:bodyPr>
          <a:lstStyle/>
          <a:p>
            <a:pPr marL="226980" defTabSz="442301"/>
            <a:r>
              <a:rPr lang="en-US" sz="2800" b="1" dirty="0">
                <a:solidFill>
                  <a:srgbClr val="0070C0"/>
                </a:solidFill>
              </a:rPr>
              <a:t>Portfolios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07839"/>
              </p:ext>
            </p:extLst>
          </p:nvPr>
        </p:nvGraphicFramePr>
        <p:xfrm>
          <a:off x="476566" y="2781299"/>
          <a:ext cx="11372852" cy="6441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054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674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44144">
                <a:tc>
                  <a:txBody>
                    <a:bodyPr/>
                    <a:lstStyle/>
                    <a:p>
                      <a:pPr algn="l"/>
                      <a:r>
                        <a:rPr lang="en-US" sz="3600" b="1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rom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3600" b="1" i="1" dirty="0">
                          <a:solidFill>
                            <a:srgbClr val="0070C0"/>
                          </a:solidFill>
                        </a:rPr>
                        <a:t>To: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4" name="Right Arrow 23"/>
          <p:cNvSpPr/>
          <p:nvPr/>
        </p:nvSpPr>
        <p:spPr bwMode="auto">
          <a:xfrm>
            <a:off x="5666861" y="3779966"/>
            <a:ext cx="776545" cy="457200"/>
          </a:xfrm>
          <a:prstGeom prst="rightArrow">
            <a:avLst/>
          </a:prstGeom>
          <a:solidFill>
            <a:srgbClr val="21F3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789" tIns="45372" rIns="90789" bIns="45372" numCol="1" rtlCol="0" anchor="t" anchorCtr="0" compatLnSpc="1">
            <a:prstTxWarp prst="textNoShape">
              <a:avLst/>
            </a:prstTxWarp>
          </a:bodyPr>
          <a:lstStyle/>
          <a:p>
            <a:pPr defTabSz="907787" eaLnBrk="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65A4">
                  <a:lumMod val="75000"/>
                </a:srgbClr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5666861" y="4692707"/>
            <a:ext cx="776545" cy="457200"/>
          </a:xfrm>
          <a:prstGeom prst="rightArrow">
            <a:avLst/>
          </a:prstGeom>
          <a:solidFill>
            <a:srgbClr val="21F3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789" tIns="45372" rIns="90789" bIns="45372" numCol="1" rtlCol="0" anchor="t" anchorCtr="0" compatLnSpc="1">
            <a:prstTxWarp prst="textNoShape">
              <a:avLst/>
            </a:prstTxWarp>
          </a:bodyPr>
          <a:lstStyle/>
          <a:p>
            <a:pPr defTabSz="907787" eaLnBrk="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65A4">
                  <a:lumMod val="75000"/>
                </a:srgbClr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5666861" y="5603677"/>
            <a:ext cx="776545" cy="457200"/>
          </a:xfrm>
          <a:prstGeom prst="rightArrow">
            <a:avLst/>
          </a:prstGeom>
          <a:solidFill>
            <a:srgbClr val="21F3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789" tIns="45372" rIns="90789" bIns="45372" numCol="1" rtlCol="0" anchor="t" anchorCtr="0" compatLnSpc="1">
            <a:prstTxWarp prst="textNoShape">
              <a:avLst/>
            </a:prstTxWarp>
          </a:bodyPr>
          <a:lstStyle/>
          <a:p>
            <a:pPr defTabSz="907787" eaLnBrk="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65A4">
                  <a:lumMod val="75000"/>
                </a:srgbClr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5666861" y="6578019"/>
            <a:ext cx="776545" cy="457200"/>
          </a:xfrm>
          <a:prstGeom prst="rightArrow">
            <a:avLst/>
          </a:prstGeom>
          <a:solidFill>
            <a:srgbClr val="21F3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789" tIns="45372" rIns="90789" bIns="45372" numCol="1" rtlCol="0" anchor="t" anchorCtr="0" compatLnSpc="1">
            <a:prstTxWarp prst="textNoShape">
              <a:avLst/>
            </a:prstTxWarp>
          </a:bodyPr>
          <a:lstStyle/>
          <a:p>
            <a:pPr defTabSz="907787" eaLnBrk="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65A4">
                  <a:lumMod val="75000"/>
                </a:srgbClr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75819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21" grpId="0"/>
      <p:bldP spid="23" grpId="0"/>
      <p:bldP spid="25" grpId="0"/>
      <p:bldP spid="18" grpId="0"/>
      <p:bldP spid="20" grpId="0"/>
      <p:bldP spid="24" grpId="0" animBg="1"/>
      <p:bldP spid="26" grpId="0" animBg="1"/>
      <p:bldP spid="27" grpId="0" animBg="1"/>
      <p:bldP spid="3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3400" b="1" i="1" dirty="0">
                <a:solidFill>
                  <a:schemeClr val="bg2"/>
                </a:solidFill>
              </a:rPr>
              <a:t>A handful of colleges are considering how to customize general education learning outcomes for broad meta-major fields.</a:t>
            </a:r>
          </a:p>
          <a:p>
            <a:pPr marL="0" indent="0">
              <a:buNone/>
            </a:pPr>
            <a:endParaRPr lang="en-US" sz="28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800" dirty="0"/>
              <a:t>“Pathways can’t just be sequences of courses. They have to fit together to create an educationally coherent program…[Therefore] you need program learning outcomes for pathways in particular fields.” – Associate dean, IRSC.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800" dirty="0"/>
              <a:t>Contextualizing general education courses for career and academic communities (St. Pete College)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800" dirty="0"/>
              <a:t>Challenge: </a:t>
            </a:r>
            <a:r>
              <a:rPr lang="en-US" sz="2800" b="1" dirty="0"/>
              <a:t>Measuring and documenting learning outcomes mastery by individual students.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6654" y="1083733"/>
            <a:ext cx="12020407" cy="1625600"/>
          </a:xfrm>
        </p:spPr>
        <p:txBody>
          <a:bodyPr/>
          <a:lstStyle/>
          <a:p>
            <a:r>
              <a:rPr lang="en-US" sz="5400" dirty="0"/>
              <a:t>Ensuring that students are </a:t>
            </a:r>
            <a:r>
              <a:rPr lang="en-US" sz="5400" dirty="0">
                <a:solidFill>
                  <a:srgbClr val="0070C0"/>
                </a:solidFill>
              </a:rPr>
              <a:t>learning</a:t>
            </a:r>
          </a:p>
        </p:txBody>
      </p:sp>
    </p:spTree>
    <p:extLst>
      <p:ext uri="{BB962C8B-B14F-4D97-AF65-F5344CB8AC3E}">
        <p14:creationId xmlns:p14="http://schemas.microsoft.com/office/powerpoint/2010/main" val="4223826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525" y="32573"/>
            <a:ext cx="10157198" cy="949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167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6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theme/theme1.xml><?xml version="1.0" encoding="utf-8"?>
<a:theme xmlns:a="http://schemas.openxmlformats.org/drawingml/2006/main" name="1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2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4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3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0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44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2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31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3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47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4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4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5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52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54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5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1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4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3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4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4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0.xml><?xml version="1.0" encoding="utf-8"?>
<a:theme xmlns:a="http://schemas.openxmlformats.org/drawingml/2006/main" name="5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5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5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5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60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6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62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6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64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6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6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7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2.xml><?xml version="1.0" encoding="utf-8"?>
<a:theme xmlns:a="http://schemas.openxmlformats.org/drawingml/2006/main" name="7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7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4.xml><?xml version="1.0" encoding="utf-8"?>
<a:theme xmlns:a="http://schemas.openxmlformats.org/drawingml/2006/main" name="82_AmericasCharities_PPT_TEMPLATE_160511">
  <a:themeElements>
    <a:clrScheme name="Custom 15">
      <a:dk1>
        <a:srgbClr val="000000"/>
      </a:dk1>
      <a:lt1>
        <a:srgbClr val="FFFFFF"/>
      </a:lt1>
      <a:dk2>
        <a:srgbClr val="872175"/>
      </a:dk2>
      <a:lt2>
        <a:srgbClr val="3B73B9"/>
      </a:lt2>
      <a:accent1>
        <a:srgbClr val="A3B222"/>
      </a:accent1>
      <a:accent2>
        <a:srgbClr val="008C99"/>
      </a:accent2>
      <a:accent3>
        <a:srgbClr val="42BECA"/>
      </a:accent3>
      <a:accent4>
        <a:srgbClr val="0065A4"/>
      </a:accent4>
      <a:accent5>
        <a:srgbClr val="DF8B07"/>
      </a:accent5>
      <a:accent6>
        <a:srgbClr val="C41230"/>
      </a:accent6>
      <a:hlink>
        <a:srgbClr val="872175"/>
      </a:hlink>
      <a:folHlink>
        <a:srgbClr val="3B73B9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5.xml><?xml version="1.0" encoding="utf-8"?>
<a:theme xmlns:a="http://schemas.openxmlformats.org/drawingml/2006/main" name="83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85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7.xml><?xml version="1.0" encoding="utf-8"?>
<a:theme xmlns:a="http://schemas.openxmlformats.org/drawingml/2006/main" name="8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8.xml><?xml version="1.0" encoding="utf-8"?>
<a:theme xmlns:a="http://schemas.openxmlformats.org/drawingml/2006/main" name="8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9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56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1.xml><?xml version="1.0" encoding="utf-8"?>
<a:theme xmlns:a="http://schemas.openxmlformats.org/drawingml/2006/main" name="65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2.xml><?xml version="1.0" encoding="utf-8"?>
<a:theme xmlns:a="http://schemas.openxmlformats.org/drawingml/2006/main" name="27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3.xml><?xml version="1.0" encoding="utf-8"?>
<a:theme xmlns:a="http://schemas.openxmlformats.org/drawingml/2006/main" name="35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4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6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Helvetica Neue Light"/>
        <a:ea typeface="Helvetica Neue Light"/>
        <a:cs typeface="Helvetica Neue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j-lt"/>
            <a:ea typeface="+mj-ea"/>
            <a:cs typeface="+mj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2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84</TotalTime>
  <Words>126</Words>
  <Application>Microsoft Macintosh PowerPoint</Application>
  <PresentationFormat>Custom</PresentationFormat>
  <Paragraphs>18</Paragraphs>
  <Slides>4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1" baseType="lpstr">
      <vt:lpstr>Calibri</vt:lpstr>
      <vt:lpstr>Calibri Light</vt:lpstr>
      <vt:lpstr>Helvetica</vt:lpstr>
      <vt:lpstr>Lucida Grande</vt:lpstr>
      <vt:lpstr>ＭＳ Ｐゴシック</vt:lpstr>
      <vt:lpstr>Palatino Linotype</vt:lpstr>
      <vt:lpstr>SimSun</vt:lpstr>
      <vt:lpstr>Tahoma</vt:lpstr>
      <vt:lpstr>ヒラギノ角ゴ Pro W3</vt:lpstr>
      <vt:lpstr>Arial</vt:lpstr>
      <vt:lpstr>18_AmericasCharities_PPT_TEMPLATE_160511</vt:lpstr>
      <vt:lpstr>25_AmericasCharities_PPT_TEMPLATE_160511</vt:lpstr>
      <vt:lpstr>30_AmericasCharities_PPT_TEMPLATE_160511</vt:lpstr>
      <vt:lpstr>9_Custom Design</vt:lpstr>
      <vt:lpstr>9_AmericasCharities_PPT_TEMPLATE_160511</vt:lpstr>
      <vt:lpstr>10_AmericasCharities_PPT_TEMPLATE_160511</vt:lpstr>
      <vt:lpstr>23_AmericasCharities_PPT_TEMPLATE_160511</vt:lpstr>
      <vt:lpstr>11_AmericasCharities_PPT_TEMPLATE_160511</vt:lpstr>
      <vt:lpstr>13_AmericasCharities_PPT_TEMPLATE_160511</vt:lpstr>
      <vt:lpstr>26_AmericasCharities_PPT_TEMPLATE_160511</vt:lpstr>
      <vt:lpstr>16_AmericasCharities_PPT_TEMPLATE_160511</vt:lpstr>
      <vt:lpstr>29_AmericasCharities_PPT_TEMPLATE_160511</vt:lpstr>
      <vt:lpstr>17_AmericasCharities_PPT_TEMPLATE_160511</vt:lpstr>
      <vt:lpstr>20_AmericasCharities_PPT_TEMPLATE_160511</vt:lpstr>
      <vt:lpstr>32_AmericasCharities_PPT_TEMPLATE_160511</vt:lpstr>
      <vt:lpstr>8_AmericasCharities_PPT_TEMPLATE_160511</vt:lpstr>
      <vt:lpstr>34_AmericasCharities_PPT_TEMPLATE_160511</vt:lpstr>
      <vt:lpstr>36_AmericasCharities_PPT_TEMPLATE_160511</vt:lpstr>
      <vt:lpstr>37_AmericasCharities_PPT_TEMPLATE_160511</vt:lpstr>
      <vt:lpstr>40_AmericasCharities_PPT_TEMPLATE_160511</vt:lpstr>
      <vt:lpstr>10_Custom Design</vt:lpstr>
      <vt:lpstr>44_AmericasCharities_PPT_TEMPLATE_160511</vt:lpstr>
      <vt:lpstr>22_AmericasCharities_PPT_TEMPLATE_160511</vt:lpstr>
      <vt:lpstr>31_AmericasCharities_PPT_TEMPLATE_160511</vt:lpstr>
      <vt:lpstr>39_AmericasCharities_PPT_TEMPLATE_160511</vt:lpstr>
      <vt:lpstr>47_AmericasCharities_PPT_TEMPLATE_160511</vt:lpstr>
      <vt:lpstr>48_AmericasCharities_PPT_TEMPLATE_160511</vt:lpstr>
      <vt:lpstr>49_AmericasCharities_PPT_TEMPLATE_160511</vt:lpstr>
      <vt:lpstr>50_AmericasCharities_PPT_TEMPLATE_160511</vt:lpstr>
      <vt:lpstr>52_AmericasCharities_PPT_TEMPLATE_160511</vt:lpstr>
      <vt:lpstr>54_AmericasCharities_PPT_TEMPLATE_160511</vt:lpstr>
      <vt:lpstr>55_AmericasCharities_PPT_TEMPLATE_160511</vt:lpstr>
      <vt:lpstr>19_AmericasCharities_PPT_TEMPLATE_160511</vt:lpstr>
      <vt:lpstr>24_AmericasCharities_PPT_TEMPLATE_160511</vt:lpstr>
      <vt:lpstr>33_AmericasCharities_PPT_TEMPLATE_160511</vt:lpstr>
      <vt:lpstr>4_AmericasCharities_PPT_TEMPLATE_160511</vt:lpstr>
      <vt:lpstr>38_AmericasCharities_PPT_TEMPLATE_160511</vt:lpstr>
      <vt:lpstr>45_AmericasCharities_PPT_TEMPLATE_160511</vt:lpstr>
      <vt:lpstr>46_AmericasCharities_PPT_TEMPLATE_160511</vt:lpstr>
      <vt:lpstr>51_AmericasCharities_PPT_TEMPLATE_160511</vt:lpstr>
      <vt:lpstr>53_AmericasCharities_PPT_TEMPLATE_160511</vt:lpstr>
      <vt:lpstr>57_AmericasCharities_PPT_TEMPLATE_160511</vt:lpstr>
      <vt:lpstr>59_AmericasCharities_PPT_TEMPLATE_160511</vt:lpstr>
      <vt:lpstr>60_AmericasCharities_PPT_TEMPLATE_160511</vt:lpstr>
      <vt:lpstr>61_AmericasCharities_PPT_TEMPLATE_160511</vt:lpstr>
      <vt:lpstr>62_AmericasCharities_PPT_TEMPLATE_160511</vt:lpstr>
      <vt:lpstr>63_AmericasCharities_PPT_TEMPLATE_160511</vt:lpstr>
      <vt:lpstr>64_AmericasCharities_PPT_TEMPLATE_160511</vt:lpstr>
      <vt:lpstr>66_AmericasCharities_PPT_TEMPLATE_160511</vt:lpstr>
      <vt:lpstr>68_AmericasCharities_PPT_TEMPLATE_160511</vt:lpstr>
      <vt:lpstr>76_AmericasCharities_PPT_TEMPLATE_160511</vt:lpstr>
      <vt:lpstr>78_AmericasCharities_PPT_TEMPLATE_160511</vt:lpstr>
      <vt:lpstr>79_AmericasCharities_PPT_TEMPLATE_160511</vt:lpstr>
      <vt:lpstr>82_AmericasCharities_PPT_TEMPLATE_160511</vt:lpstr>
      <vt:lpstr>83_AmericasCharities_PPT_TEMPLATE_160511</vt:lpstr>
      <vt:lpstr>85_AmericasCharities_PPT_TEMPLATE_160511</vt:lpstr>
      <vt:lpstr>88_AmericasCharities_PPT_TEMPLATE_160511</vt:lpstr>
      <vt:lpstr>89_AmericasCharities_PPT_TEMPLATE_160511</vt:lpstr>
      <vt:lpstr>90_AmericasCharities_PPT_TEMPLATE_160511</vt:lpstr>
      <vt:lpstr>56_AmericasCharities_PPT_TEMPLATE_160511</vt:lpstr>
      <vt:lpstr>65_AmericasCharities_PPT_TEMPLATE_160511</vt:lpstr>
      <vt:lpstr>27_AmericasCharities_PPT_TEMPLATE_160511</vt:lpstr>
      <vt:lpstr>35_AmericasCharities_PPT_TEMPLATE_160511</vt:lpstr>
      <vt:lpstr>11_Custom Design</vt:lpstr>
      <vt:lpstr>2_Office Theme</vt:lpstr>
      <vt:lpstr>41_AmericasCharities_PPT_TEMPLATE_160511</vt:lpstr>
      <vt:lpstr>think-cell Slide</vt:lpstr>
      <vt:lpstr>Ensuring that Students are Learning: Implementation Section Pillar #4</vt:lpstr>
      <vt:lpstr>Rethinking Teaching and Learning</vt:lpstr>
      <vt:lpstr>Ensuring that students are learning</vt:lpstr>
      <vt:lpstr>PowerPoint Presentation</vt:lpstr>
    </vt:vector>
  </TitlesOfParts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oice Architecture, Academic Foci and Guided Pathways</dc:title>
  <dc:creator>Noonan, Coral M</dc:creator>
  <cp:lastModifiedBy>andrea@nextchaptercomms.com</cp:lastModifiedBy>
  <cp:revision>265</cp:revision>
  <cp:lastPrinted>2016-10-05T15:45:11Z</cp:lastPrinted>
  <dcterms:modified xsi:type="dcterms:W3CDTF">2018-03-19T12:16:20Z</dcterms:modified>
</cp:coreProperties>
</file>